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8"/>
  </p:notesMasterIdLst>
  <p:handoutMasterIdLst>
    <p:handoutMasterId r:id="rId19"/>
  </p:handoutMasterIdLst>
  <p:sldIdLst>
    <p:sldId id="265" r:id="rId5"/>
    <p:sldId id="266" r:id="rId6"/>
    <p:sldId id="269" r:id="rId7"/>
    <p:sldId id="259" r:id="rId8"/>
    <p:sldId id="267" r:id="rId9"/>
    <p:sldId id="260" r:id="rId10"/>
    <p:sldId id="261" r:id="rId11"/>
    <p:sldId id="270" r:id="rId12"/>
    <p:sldId id="262" r:id="rId13"/>
    <p:sldId id="271" r:id="rId14"/>
    <p:sldId id="263" r:id="rId15"/>
    <p:sldId id="268" r:id="rId16"/>
    <p:sldId id="264" r:id="rId17"/>
  </p:sldIdLst>
  <p:sldSz cx="9906000" cy="6858000" type="A4"/>
  <p:notesSz cx="6797675" cy="9926638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49" userDrawn="1">
          <p15:clr>
            <a:srgbClr val="A4A3A4"/>
          </p15:clr>
        </p15:guide>
        <p15:guide id="2" orient="horz" pos="3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ophe Struck" initials="CS" lastIdx="13" clrIdx="0">
    <p:extLst>
      <p:ext uri="{19B8F6BF-5375-455C-9EA6-DF929625EA0E}">
        <p15:presenceInfo xmlns:p15="http://schemas.microsoft.com/office/powerpoint/2012/main" userId="S-1-5-21-3210268068-3955779823-4248853682-788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077E"/>
    <a:srgbClr val="2D7B9A"/>
    <a:srgbClr val="929293"/>
    <a:srgbClr val="AFDEF9"/>
    <a:srgbClr val="45ADD6"/>
    <a:srgbClr val="EDEDED"/>
    <a:srgbClr val="063D58"/>
    <a:srgbClr val="FF9700"/>
    <a:srgbClr val="FF0000"/>
    <a:srgbClr val="D1D3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33" autoAdjust="0"/>
    <p:restoredTop sz="85879" autoAdjust="0"/>
  </p:normalViewPr>
  <p:slideViewPr>
    <p:cSldViewPr snapToGrid="0">
      <p:cViewPr varScale="1">
        <p:scale>
          <a:sx n="99" d="100"/>
          <a:sy n="99" d="100"/>
        </p:scale>
        <p:origin x="1740" y="78"/>
      </p:cViewPr>
      <p:guideLst>
        <p:guide pos="149"/>
        <p:guide orient="horz" pos="323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60" d="100"/>
          <a:sy n="60" d="100"/>
        </p:scale>
        <p:origin x="3211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235B53-92D3-4706-AD51-7293D4C320FD}" type="datetimeFigureOut">
              <a:rPr lang="fr-FR" smtClean="0"/>
              <a:t>07/06/2023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56C72-46F2-4C68-BA46-D259FDB72F2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08349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D3223-73CA-47D0-A688-98673985DFA3}" type="datetimeFigureOut">
              <a:rPr lang="fr-FR" smtClean="0"/>
              <a:t>07/06/2023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3B5F7D-D941-4A2C-A918-9B8BBFF93C4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1397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noProof="0" dirty="0" smtClean="0"/>
              <a:t>Type (X)</a:t>
            </a:r>
          </a:p>
          <a:p>
            <a:r>
              <a:rPr lang="en-US" b="1" noProof="0" dirty="0" smtClean="0"/>
              <a:t>1. </a:t>
            </a:r>
            <a:r>
              <a:rPr lang="en-US" b="1" noProof="0" dirty="0" err="1" smtClean="0"/>
              <a:t>Weieng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Kompetenz</a:t>
            </a:r>
            <a:r>
              <a:rPr lang="en-US" b="1" noProof="0" dirty="0" smtClean="0"/>
              <a:t>(</a:t>
            </a:r>
            <a:r>
              <a:rPr lang="en-US" b="1" noProof="0" dirty="0" err="1" smtClean="0"/>
              <a:t>en</a:t>
            </a:r>
            <a:r>
              <a:rPr lang="en-US" b="1" noProof="0" dirty="0" smtClean="0"/>
              <a:t>) well </a:t>
            </a:r>
            <a:r>
              <a:rPr lang="en-US" b="1" noProof="0" dirty="0" err="1" smtClean="0"/>
              <a:t>ech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verbesseren</a:t>
            </a:r>
            <a:endParaRPr lang="en-US" b="1" noProof="0" dirty="0" smtClean="0"/>
          </a:p>
          <a:p>
            <a:r>
              <a:rPr lang="en-US" b="1" noProof="0" dirty="0" smtClean="0"/>
              <a:t>Wat as </a:t>
            </a:r>
            <a:r>
              <a:rPr lang="en-US" b="1" noProof="0" dirty="0" err="1" smtClean="0"/>
              <a:t>betraff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vun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menger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Formatioun</a:t>
            </a:r>
            <a:endParaRPr lang="en-US" b="1" noProof="0" dirty="0" smtClean="0"/>
          </a:p>
          <a:p>
            <a:endParaRPr lang="en-US" b="1" noProof="0" dirty="0" smtClean="0"/>
          </a:p>
          <a:p>
            <a:r>
              <a:rPr lang="en-US" b="1" noProof="0" dirty="0" smtClean="0"/>
              <a:t> 2. </a:t>
            </a:r>
            <a:r>
              <a:rPr lang="en-US" b="1" noProof="0" dirty="0" err="1" smtClean="0"/>
              <a:t>Objectiver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vun</a:t>
            </a:r>
            <a:r>
              <a:rPr lang="en-US" b="1" noProof="0" dirty="0" smtClean="0"/>
              <a:t> der </a:t>
            </a:r>
            <a:r>
              <a:rPr lang="en-US" b="1" noProof="0" dirty="0" err="1" smtClean="0"/>
              <a:t>Formatioun</a:t>
            </a:r>
            <a:endParaRPr lang="en-US" b="1" noProof="0" dirty="0" smtClean="0"/>
          </a:p>
          <a:p>
            <a:endParaRPr lang="en-US" b="1" noProof="0" dirty="0" smtClean="0"/>
          </a:p>
          <a:p>
            <a:r>
              <a:rPr lang="en-US" b="1" noProof="0" dirty="0" err="1" smtClean="0"/>
              <a:t>Profondeur</a:t>
            </a:r>
            <a:r>
              <a:rPr lang="en-US" b="1" noProof="0" dirty="0" smtClean="0"/>
              <a:t> (Y)</a:t>
            </a:r>
          </a:p>
          <a:p>
            <a:r>
              <a:rPr lang="en-US" b="1" noProof="0" dirty="0" smtClean="0"/>
              <a:t>3. Op </a:t>
            </a:r>
            <a:r>
              <a:rPr lang="en-US" b="1" noProof="0" dirty="0" err="1" smtClean="0"/>
              <a:t>weieen</a:t>
            </a:r>
            <a:r>
              <a:rPr lang="en-US" b="1" noProof="0" dirty="0" smtClean="0"/>
              <a:t> </a:t>
            </a:r>
            <a:r>
              <a:rPr lang="en-US" b="1" noProof="0" dirty="0" err="1" smtClean="0"/>
              <a:t>Niveau</a:t>
            </a:r>
            <a:r>
              <a:rPr lang="en-US" b="1" baseline="0" noProof="0" dirty="0" smtClean="0"/>
              <a:t> </a:t>
            </a:r>
            <a:r>
              <a:rPr lang="en-US" b="1" baseline="0" noProof="0" dirty="0" err="1" smtClean="0"/>
              <a:t>bréngen</a:t>
            </a:r>
            <a:endParaRPr lang="en-US" b="1" noProof="0" dirty="0"/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171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noProof="0" dirty="0"/>
              <a:t>C’est en 1956 que Benjamin Bloom, psychologue en éducation, a fait émerger une classification des compétences impliquées dans l’apprentissage. Cette taxonomie (du grec « taxis » et « </a:t>
            </a:r>
            <a:r>
              <a:rPr lang="fr-FR" noProof="0" dirty="0" err="1"/>
              <a:t>nomos</a:t>
            </a:r>
            <a:r>
              <a:rPr lang="fr-FR" noProof="0" dirty="0"/>
              <a:t> », qui signifie la « règle de classification ») détermine six habiletés cognitives allant de la plus simple à la plus complexe, auxquelles correspondent des opérations typiques</a:t>
            </a:r>
            <a:r>
              <a:rPr lang="fr-FR" noProof="0" dirty="0" smtClean="0"/>
              <a:t>.</a:t>
            </a:r>
          </a:p>
          <a:p>
            <a:endParaRPr lang="en-US" noProof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Line avec </a:t>
            </a:r>
            <a:r>
              <a:rPr lang="en-US" noProof="0" dirty="0" err="1" smtClean="0"/>
              <a:t>verbes</a:t>
            </a:r>
            <a:r>
              <a:rPr lang="en-US" noProof="0" dirty="0" smtClean="0"/>
              <a:t>: </a:t>
            </a:r>
            <a:r>
              <a:rPr lang="fr-FR" dirty="0" smtClean="0"/>
              <a:t>Liste avec verbes à créer: http://labua.univ-angers.fr/revue/annexe-1-rediger-des-objectifs-dapprentissage</a:t>
            </a:r>
          </a:p>
          <a:p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5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345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noProof="0" dirty="0"/>
              <a:t>C’est en 1956 que Benjamin Bloom, psychologue en éducation, a fait émerger une classification des compétences impliquées dans l’apprentissage. Cette taxonomie (du grec « taxis » et « </a:t>
            </a:r>
            <a:r>
              <a:rPr lang="fr-FR" noProof="0" dirty="0" err="1"/>
              <a:t>nomos</a:t>
            </a:r>
            <a:r>
              <a:rPr lang="fr-FR" noProof="0" dirty="0"/>
              <a:t> », qui signifie la « règle de classification ») détermine six habiletés cognitives allant de la plus simple à la plus complexe, auxquelles correspondent des opérations typiques</a:t>
            </a:r>
            <a:r>
              <a:rPr lang="fr-FR" noProof="0" dirty="0" smtClean="0"/>
              <a:t>.</a:t>
            </a:r>
          </a:p>
          <a:p>
            <a:endParaRPr lang="en-US" noProof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Line avec </a:t>
            </a:r>
            <a:r>
              <a:rPr lang="en-US" noProof="0" dirty="0" err="1" smtClean="0"/>
              <a:t>verbes</a:t>
            </a:r>
            <a:r>
              <a:rPr lang="en-US" noProof="0" dirty="0" smtClean="0"/>
              <a:t>: </a:t>
            </a:r>
            <a:r>
              <a:rPr lang="fr-FR" dirty="0" smtClean="0"/>
              <a:t>Liste avec verbes à créer: http://labua.univ-angers.fr/revue/annexe-1-rediger-des-objectifs-dapprentissage</a:t>
            </a:r>
          </a:p>
          <a:p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6939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7966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noProof="0" dirty="0"/>
              <a:t>C’est en 1956 que Benjamin Bloom, psychologue en éducation, a fait émerger une classification des compétences impliquées dans l’apprentissage. Cette taxonomie (du grec « taxis » et « </a:t>
            </a:r>
            <a:r>
              <a:rPr lang="fr-FR" noProof="0" dirty="0" err="1"/>
              <a:t>nomos</a:t>
            </a:r>
            <a:r>
              <a:rPr lang="fr-FR" noProof="0" dirty="0"/>
              <a:t> », qui signifie la « règle de classification ») détermine six habiletés cognitives allant de la plus simple à la plus complexe, auxquelles correspondent des opérations typiques</a:t>
            </a:r>
            <a:r>
              <a:rPr lang="fr-FR" noProof="0" dirty="0" smtClean="0"/>
              <a:t>.</a:t>
            </a:r>
          </a:p>
          <a:p>
            <a:endParaRPr lang="en-US" noProof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Line avec </a:t>
            </a:r>
            <a:r>
              <a:rPr lang="en-US" noProof="0" dirty="0" err="1" smtClean="0"/>
              <a:t>verbes</a:t>
            </a:r>
            <a:r>
              <a:rPr lang="en-US" noProof="0" dirty="0" smtClean="0"/>
              <a:t>: </a:t>
            </a:r>
            <a:r>
              <a:rPr lang="fr-FR" dirty="0" smtClean="0"/>
              <a:t>Liste avec verbes à créer: http://labua.univ-angers.fr/revue/annexe-1-rediger-des-objectifs-dapprentissage</a:t>
            </a:r>
          </a:p>
          <a:p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0096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3854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Lien intéressant : https://www.collegept.org/docs/default-source/quality-assurance-resources---french/smart_learninggoals_fr.pdf?sfvrsn=b965c9a1_12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1679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C48BF-77C9-4C1B-ABD8-6D8316F984A1}" type="datetime6">
              <a:rPr lang="fr-FR" smtClean="0"/>
              <a:t>juin 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8079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5BC40C-794C-41B7-90EA-FB0BD4238FD9}" type="datetime6">
              <a:rPr lang="fr-FR" smtClean="0"/>
              <a:t>juin 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5214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BE731-E246-44AA-8503-15AC89633CD2}" type="datetime6">
              <a:rPr lang="fr-FR" smtClean="0"/>
              <a:t>juin 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1387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E45D83-2BF8-422D-9D4D-A3720977C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E45D83-2BF8-422D-9D4D-A3720977C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D38493C-DCD7-4059-84BE-8D5BB7E488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8984" cy="158750"/>
          </a:xfrm>
          <a:prstGeom prst="rect">
            <a:avLst/>
          </a:prstGeom>
          <a:solidFill>
            <a:schemeClr val="accent1"/>
          </a:solidFill>
          <a:ln w="12700" cmpd="thinThick">
            <a:noFill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1" lang="fr-FR" sz="2927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345214" y="128635"/>
            <a:ext cx="9069295" cy="750084"/>
          </a:xfrm>
        </p:spPr>
        <p:txBody>
          <a:bodyPr/>
          <a:lstStyle>
            <a:lvl1pPr>
              <a:defRPr spc="0" baseline="0">
                <a:solidFill>
                  <a:srgbClr val="E6007E"/>
                </a:solidFill>
              </a:defRPr>
            </a:lvl1pPr>
          </a:lstStyle>
          <a:p>
            <a:r>
              <a:rPr lang="fr-FR" altLang="ja-JP" dirty="0"/>
              <a:t>Slide </a:t>
            </a:r>
            <a:r>
              <a:rPr lang="fr-FR" altLang="ja-JP" dirty="0" err="1"/>
              <a:t>title</a:t>
            </a:r>
            <a:r>
              <a:rPr lang="fr-FR" altLang="ja-JP" dirty="0"/>
              <a:t> </a:t>
            </a:r>
            <a:r>
              <a:rPr lang="fr-FR" altLang="ja-JP" dirty="0" err="1"/>
              <a:t>here</a:t>
            </a:r>
            <a:endParaRPr kumimoji="1" lang="fr-FR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9410613" y="6394247"/>
            <a:ext cx="491492" cy="365125"/>
          </a:xfrm>
        </p:spPr>
        <p:txBody>
          <a:bodyPr/>
          <a:lstStyle/>
          <a:p>
            <a:fld id="{387164BF-D67A-46C0-81D2-5BAF67C00C80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593888" y="1868827"/>
            <a:ext cx="8698722" cy="695796"/>
          </a:xfrm>
        </p:spPr>
        <p:txBody>
          <a:bodyPr anchor="b">
            <a:noAutofit/>
          </a:bodyPr>
          <a:lstStyle>
            <a:lvl1pPr algn="l">
              <a:defRPr sz="2600" spc="0">
                <a:solidFill>
                  <a:srgbClr val="BC0067"/>
                </a:solidFill>
                <a:latin typeface="+mj-lt"/>
              </a:defRPr>
            </a:lvl1pPr>
          </a:lstStyle>
          <a:p>
            <a:pPr lvl="0"/>
            <a:r>
              <a:rPr lang="fr-FR" altLang="ja-JP" dirty="0" err="1"/>
              <a:t>TEXT</a:t>
            </a:r>
            <a:r>
              <a:rPr lang="fr-FR" altLang="ja-JP" dirty="0"/>
              <a:t> HERE</a:t>
            </a:r>
            <a:endParaRPr lang="fr-FR" dirty="0"/>
          </a:p>
        </p:txBody>
      </p:sp>
      <p:sp>
        <p:nvSpPr>
          <p:cNvPr id="6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593888" y="2708920"/>
            <a:ext cx="8698722" cy="3600400"/>
          </a:xfrm>
        </p:spPr>
        <p:txBody>
          <a:bodyPr anchor="t">
            <a:noAutofit/>
          </a:bodyPr>
          <a:lstStyle>
            <a:lvl1pPr algn="l">
              <a:lnSpc>
                <a:spcPct val="120000"/>
              </a:lnSpc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altLang="ja-JP" dirty="0" err="1"/>
              <a:t>Text</a:t>
            </a:r>
            <a:r>
              <a:rPr lang="fr-FR" altLang="ja-JP" dirty="0"/>
              <a:t> </a:t>
            </a:r>
            <a:r>
              <a:rPr lang="fr-FR" altLang="ja-JP" dirty="0" err="1"/>
              <a:t>He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8835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345214" y="128635"/>
            <a:ext cx="9069295" cy="750084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en-US" altLang="ja-JP" dirty="0"/>
              <a:t>Slide title here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9410613" y="6394247"/>
            <a:ext cx="491492" cy="365125"/>
          </a:xfrm>
        </p:spPr>
        <p:txBody>
          <a:bodyPr/>
          <a:lstStyle/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1720" y="2168863"/>
            <a:ext cx="1398183" cy="825093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517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8" name="テキスト プレースホルダー 11"/>
          <p:cNvSpPr>
            <a:spLocks noGrp="1"/>
          </p:cNvSpPr>
          <p:nvPr>
            <p:ph type="body" sz="quarter" idx="22" hasCustomPrompt="1"/>
          </p:nvPr>
        </p:nvSpPr>
        <p:spPr>
          <a:xfrm>
            <a:off x="6389704" y="2168863"/>
            <a:ext cx="1398183" cy="825093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517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9" name="テキスト プレースホルダー 11"/>
          <p:cNvSpPr>
            <a:spLocks noGrp="1"/>
          </p:cNvSpPr>
          <p:nvPr>
            <p:ph type="body" sz="quarter" idx="23" hasCustomPrompt="1"/>
          </p:nvPr>
        </p:nvSpPr>
        <p:spPr>
          <a:xfrm>
            <a:off x="1996216" y="2168863"/>
            <a:ext cx="1398183" cy="825093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517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0" name="テキスト プレースホルダー 11"/>
          <p:cNvSpPr>
            <a:spLocks noGrp="1"/>
          </p:cNvSpPr>
          <p:nvPr>
            <p:ph type="body" sz="quarter" idx="24" hasCustomPrompt="1"/>
          </p:nvPr>
        </p:nvSpPr>
        <p:spPr>
          <a:xfrm>
            <a:off x="4925207" y="2168863"/>
            <a:ext cx="1398183" cy="825093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517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テキスト プレースホルダー 11"/>
          <p:cNvSpPr>
            <a:spLocks noGrp="1"/>
          </p:cNvSpPr>
          <p:nvPr>
            <p:ph type="body" sz="quarter" idx="25" hasCustomPrompt="1"/>
          </p:nvPr>
        </p:nvSpPr>
        <p:spPr>
          <a:xfrm>
            <a:off x="3460712" y="2168863"/>
            <a:ext cx="1398183" cy="825093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517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2" name="テキスト プレースホルダー 11"/>
          <p:cNvSpPr>
            <a:spLocks noGrp="1"/>
          </p:cNvSpPr>
          <p:nvPr>
            <p:ph type="body" sz="quarter" idx="26" hasCustomPrompt="1"/>
          </p:nvPr>
        </p:nvSpPr>
        <p:spPr>
          <a:xfrm>
            <a:off x="7854201" y="2168863"/>
            <a:ext cx="1398183" cy="825093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517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3" name="テキスト プレースホルダー 11"/>
          <p:cNvSpPr>
            <a:spLocks noGrp="1"/>
          </p:cNvSpPr>
          <p:nvPr>
            <p:ph type="body" sz="quarter" idx="27" hasCustomPrompt="1"/>
          </p:nvPr>
        </p:nvSpPr>
        <p:spPr>
          <a:xfrm>
            <a:off x="564633" y="3924055"/>
            <a:ext cx="1398183" cy="211523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8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4" name="テキスト プレースホルダー 11"/>
          <p:cNvSpPr>
            <a:spLocks noGrp="1"/>
          </p:cNvSpPr>
          <p:nvPr>
            <p:ph type="body" sz="quarter" idx="28" hasCustomPrompt="1"/>
          </p:nvPr>
        </p:nvSpPr>
        <p:spPr>
          <a:xfrm>
            <a:off x="6405550" y="3924055"/>
            <a:ext cx="1398183" cy="211523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8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5" name="テキスト プレースホルダー 11"/>
          <p:cNvSpPr>
            <a:spLocks noGrp="1"/>
          </p:cNvSpPr>
          <p:nvPr>
            <p:ph type="body" sz="quarter" idx="29" hasCustomPrompt="1"/>
          </p:nvPr>
        </p:nvSpPr>
        <p:spPr>
          <a:xfrm>
            <a:off x="2029129" y="3924055"/>
            <a:ext cx="1398183" cy="211523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8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6" name="テキスト プレースホルダー 11"/>
          <p:cNvSpPr>
            <a:spLocks noGrp="1"/>
          </p:cNvSpPr>
          <p:nvPr>
            <p:ph type="body" sz="quarter" idx="30" hasCustomPrompt="1"/>
          </p:nvPr>
        </p:nvSpPr>
        <p:spPr>
          <a:xfrm>
            <a:off x="4944468" y="3924055"/>
            <a:ext cx="1398183" cy="211523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8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7" name="テキスト プレースホルダー 11"/>
          <p:cNvSpPr>
            <a:spLocks noGrp="1"/>
          </p:cNvSpPr>
          <p:nvPr>
            <p:ph type="body" sz="quarter" idx="31" hasCustomPrompt="1"/>
          </p:nvPr>
        </p:nvSpPr>
        <p:spPr>
          <a:xfrm>
            <a:off x="3493625" y="3924055"/>
            <a:ext cx="1398183" cy="211523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8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8" name="テキスト プレースホルダー 11"/>
          <p:cNvSpPr>
            <a:spLocks noGrp="1"/>
          </p:cNvSpPr>
          <p:nvPr>
            <p:ph type="body" sz="quarter" idx="32" hasCustomPrompt="1"/>
          </p:nvPr>
        </p:nvSpPr>
        <p:spPr>
          <a:xfrm>
            <a:off x="7870046" y="3924055"/>
            <a:ext cx="1398183" cy="211523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83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789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345214" y="128635"/>
            <a:ext cx="9069295" cy="750084"/>
          </a:xfrm>
        </p:spPr>
        <p:txBody>
          <a:bodyPr/>
          <a:lstStyle>
            <a:lvl1pPr>
              <a:defRPr spc="0" baseline="0">
                <a:solidFill>
                  <a:srgbClr val="E6007E"/>
                </a:solidFill>
              </a:defRPr>
            </a:lvl1pPr>
          </a:lstStyle>
          <a:p>
            <a:r>
              <a:rPr lang="en-US" altLang="ja-JP" dirty="0"/>
              <a:t>Slide title here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9410613" y="6394247"/>
            <a:ext cx="491492" cy="365125"/>
          </a:xfrm>
        </p:spPr>
        <p:txBody>
          <a:bodyPr/>
          <a:lstStyle/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593888" y="1868828"/>
            <a:ext cx="8698722" cy="4440493"/>
          </a:xfrm>
        </p:spPr>
        <p:txBody>
          <a:bodyPr anchor="t">
            <a:noAutofit/>
          </a:bodyPr>
          <a:lstStyle>
            <a:lvl1pPr algn="l">
              <a:lnSpc>
                <a:spcPct val="120000"/>
              </a:lnSpc>
              <a:defRPr sz="13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094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5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345214" y="128635"/>
            <a:ext cx="9069295" cy="750084"/>
          </a:xfrm>
        </p:spPr>
        <p:txBody>
          <a:bodyPr/>
          <a:lstStyle>
            <a:lvl1pPr>
              <a:defRPr spc="0" baseline="0">
                <a:solidFill>
                  <a:srgbClr val="2D7B9A"/>
                </a:solidFill>
              </a:defRPr>
            </a:lvl1pPr>
          </a:lstStyle>
          <a:p>
            <a:r>
              <a:rPr lang="en-US" altLang="ja-JP" dirty="0"/>
              <a:t>Slide title here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9410613" y="6394247"/>
            <a:ext cx="491492" cy="365125"/>
          </a:xfrm>
        </p:spPr>
        <p:txBody>
          <a:bodyPr/>
          <a:lstStyle/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202818" y="1527631"/>
            <a:ext cx="1508116" cy="515469"/>
          </a:xfrm>
        </p:spPr>
        <p:txBody>
          <a:bodyPr anchor="t">
            <a:noAutofit/>
          </a:bodyPr>
          <a:lstStyle>
            <a:lvl1pPr marL="0" indent="0" algn="r">
              <a:lnSpc>
                <a:spcPct val="120000"/>
              </a:lnSpc>
              <a:buFontTx/>
              <a:buNone/>
              <a:defRPr sz="1733" spc="0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" name="正方形/長方形 5"/>
          <p:cNvSpPr/>
          <p:nvPr userDrawn="1"/>
        </p:nvSpPr>
        <p:spPr>
          <a:xfrm>
            <a:off x="1784075" y="1335316"/>
            <a:ext cx="39003" cy="900100"/>
          </a:xfrm>
          <a:prstGeom prst="rect">
            <a:avLst/>
          </a:prstGeom>
          <a:solidFill>
            <a:srgbClr val="929293"/>
          </a:solidFill>
          <a:ln w="12700" cmpd="thinThick">
            <a:solidFill>
              <a:srgbClr val="929293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733"/>
          </a:p>
        </p:txBody>
      </p:sp>
      <p:sp>
        <p:nvSpPr>
          <p:cNvPr id="7" name="テキスト プレースホルダー 11"/>
          <p:cNvSpPr>
            <a:spLocks noGrp="1"/>
          </p:cNvSpPr>
          <p:nvPr>
            <p:ph type="body" sz="quarter" idx="26" hasCustomPrompt="1"/>
          </p:nvPr>
        </p:nvSpPr>
        <p:spPr>
          <a:xfrm>
            <a:off x="2612537" y="1335316"/>
            <a:ext cx="6289995" cy="900100"/>
          </a:xfrm>
        </p:spPr>
        <p:txBody>
          <a:bodyPr anchor="ctr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97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8" name="テキスト プレースホルダー 11"/>
          <p:cNvSpPr>
            <a:spLocks noGrp="1"/>
          </p:cNvSpPr>
          <p:nvPr>
            <p:ph type="body" sz="quarter" idx="27" hasCustomPrompt="1"/>
          </p:nvPr>
        </p:nvSpPr>
        <p:spPr>
          <a:xfrm>
            <a:off x="202818" y="2570247"/>
            <a:ext cx="1508116" cy="515469"/>
          </a:xfrm>
        </p:spPr>
        <p:txBody>
          <a:bodyPr anchor="t">
            <a:noAutofit/>
          </a:bodyPr>
          <a:lstStyle>
            <a:lvl1pPr marL="0" indent="0" algn="r">
              <a:lnSpc>
                <a:spcPct val="120000"/>
              </a:lnSpc>
              <a:buFontTx/>
              <a:buNone/>
              <a:defRPr sz="1733" spc="0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" name="正方形/長方形 8"/>
          <p:cNvSpPr/>
          <p:nvPr userDrawn="1"/>
        </p:nvSpPr>
        <p:spPr>
          <a:xfrm>
            <a:off x="1784075" y="2377932"/>
            <a:ext cx="39003" cy="900100"/>
          </a:xfrm>
          <a:prstGeom prst="rect">
            <a:avLst/>
          </a:prstGeom>
          <a:solidFill>
            <a:srgbClr val="929293"/>
          </a:solidFill>
          <a:ln w="12700" cmpd="thinThick">
            <a:solidFill>
              <a:srgbClr val="929293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733"/>
          </a:p>
        </p:txBody>
      </p:sp>
      <p:sp>
        <p:nvSpPr>
          <p:cNvPr id="10" name="テキスト プレースホルダー 11"/>
          <p:cNvSpPr>
            <a:spLocks noGrp="1"/>
          </p:cNvSpPr>
          <p:nvPr>
            <p:ph type="body" sz="quarter" idx="28" hasCustomPrompt="1"/>
          </p:nvPr>
        </p:nvSpPr>
        <p:spPr>
          <a:xfrm>
            <a:off x="2612537" y="2377932"/>
            <a:ext cx="6289995" cy="900100"/>
          </a:xfrm>
        </p:spPr>
        <p:txBody>
          <a:bodyPr anchor="ctr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97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29" hasCustomPrompt="1"/>
          </p:nvPr>
        </p:nvSpPr>
        <p:spPr>
          <a:xfrm>
            <a:off x="202818" y="3612863"/>
            <a:ext cx="1508116" cy="515469"/>
          </a:xfrm>
        </p:spPr>
        <p:txBody>
          <a:bodyPr anchor="t">
            <a:noAutofit/>
          </a:bodyPr>
          <a:lstStyle>
            <a:lvl1pPr marL="0" indent="0" algn="r">
              <a:lnSpc>
                <a:spcPct val="120000"/>
              </a:lnSpc>
              <a:buFontTx/>
              <a:buNone/>
              <a:defRPr sz="1733" spc="0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2" name="正方形/長方形 11"/>
          <p:cNvSpPr/>
          <p:nvPr userDrawn="1"/>
        </p:nvSpPr>
        <p:spPr>
          <a:xfrm>
            <a:off x="1792103" y="3420548"/>
            <a:ext cx="39003" cy="900100"/>
          </a:xfrm>
          <a:prstGeom prst="rect">
            <a:avLst/>
          </a:prstGeom>
          <a:solidFill>
            <a:srgbClr val="929293"/>
          </a:solidFill>
          <a:ln w="12700" cmpd="thinThick">
            <a:solidFill>
              <a:srgbClr val="929293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733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30" hasCustomPrompt="1"/>
          </p:nvPr>
        </p:nvSpPr>
        <p:spPr>
          <a:xfrm>
            <a:off x="2612537" y="3420548"/>
            <a:ext cx="6289995" cy="900100"/>
          </a:xfrm>
        </p:spPr>
        <p:txBody>
          <a:bodyPr anchor="ctr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97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31" hasCustomPrompt="1"/>
          </p:nvPr>
        </p:nvSpPr>
        <p:spPr>
          <a:xfrm>
            <a:off x="202818" y="4655479"/>
            <a:ext cx="1508116" cy="515469"/>
          </a:xfrm>
        </p:spPr>
        <p:txBody>
          <a:bodyPr anchor="t">
            <a:noAutofit/>
          </a:bodyPr>
          <a:lstStyle>
            <a:lvl1pPr marL="0" indent="0" algn="r">
              <a:lnSpc>
                <a:spcPct val="120000"/>
              </a:lnSpc>
              <a:buFontTx/>
              <a:buNone/>
              <a:defRPr sz="1733" spc="0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5" name="正方形/長方形 14"/>
          <p:cNvSpPr/>
          <p:nvPr userDrawn="1"/>
        </p:nvSpPr>
        <p:spPr>
          <a:xfrm>
            <a:off x="1784075" y="4463164"/>
            <a:ext cx="39003" cy="900100"/>
          </a:xfrm>
          <a:prstGeom prst="rect">
            <a:avLst/>
          </a:prstGeom>
          <a:solidFill>
            <a:srgbClr val="929293"/>
          </a:solidFill>
          <a:ln w="12700" cmpd="thinThick">
            <a:solidFill>
              <a:srgbClr val="929293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733"/>
          </a:p>
        </p:txBody>
      </p:sp>
      <p:sp>
        <p:nvSpPr>
          <p:cNvPr id="16" name="テキスト プレースホルダー 11"/>
          <p:cNvSpPr>
            <a:spLocks noGrp="1"/>
          </p:cNvSpPr>
          <p:nvPr>
            <p:ph type="body" sz="quarter" idx="32" hasCustomPrompt="1"/>
          </p:nvPr>
        </p:nvSpPr>
        <p:spPr>
          <a:xfrm>
            <a:off x="2612537" y="4463164"/>
            <a:ext cx="6289995" cy="900100"/>
          </a:xfrm>
        </p:spPr>
        <p:txBody>
          <a:bodyPr anchor="ctr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97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テキスト プレースホルダー 11"/>
          <p:cNvSpPr>
            <a:spLocks noGrp="1"/>
          </p:cNvSpPr>
          <p:nvPr>
            <p:ph type="body" sz="quarter" idx="33" hasCustomPrompt="1"/>
          </p:nvPr>
        </p:nvSpPr>
        <p:spPr>
          <a:xfrm>
            <a:off x="202818" y="5698093"/>
            <a:ext cx="1508116" cy="515469"/>
          </a:xfrm>
        </p:spPr>
        <p:txBody>
          <a:bodyPr anchor="t">
            <a:noAutofit/>
          </a:bodyPr>
          <a:lstStyle>
            <a:lvl1pPr marL="0" indent="0" algn="r">
              <a:lnSpc>
                <a:spcPct val="120000"/>
              </a:lnSpc>
              <a:buFontTx/>
              <a:buNone/>
              <a:defRPr sz="1733" spc="0">
                <a:solidFill>
                  <a:srgbClr val="2D7B9A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8" name="正方形/長方形 17"/>
          <p:cNvSpPr/>
          <p:nvPr userDrawn="1"/>
        </p:nvSpPr>
        <p:spPr>
          <a:xfrm>
            <a:off x="1784075" y="5505778"/>
            <a:ext cx="39003" cy="900100"/>
          </a:xfrm>
          <a:prstGeom prst="rect">
            <a:avLst/>
          </a:prstGeom>
          <a:solidFill>
            <a:srgbClr val="929293"/>
          </a:solidFill>
          <a:ln w="12700" cmpd="thinThick">
            <a:solidFill>
              <a:srgbClr val="929293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733"/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34" hasCustomPrompt="1"/>
          </p:nvPr>
        </p:nvSpPr>
        <p:spPr>
          <a:xfrm>
            <a:off x="2612537" y="5505778"/>
            <a:ext cx="6289995" cy="900100"/>
          </a:xfrm>
        </p:spPr>
        <p:txBody>
          <a:bodyPr anchor="ctr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Tx/>
              <a:buNone/>
              <a:defRPr sz="975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757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F1C7FE-E591-490E-B098-2508C237BEBC}" type="datetime6">
              <a:rPr lang="fr-FR" smtClean="0"/>
              <a:t>juin 23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1525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76FBB-EA90-4A92-A63D-28296BC245DA}" type="datetime6">
              <a:rPr lang="fr-FR" smtClean="0"/>
              <a:t>juin 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5751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7B119-4D87-4A6D-8181-FDADB55C9782}" type="datetime6">
              <a:rPr lang="fr-FR" smtClean="0"/>
              <a:t>juin 23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6867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E5922-B884-4DB2-94A3-060024D26AB9}" type="datetime6">
              <a:rPr lang="fr-FR" smtClean="0"/>
              <a:t>juin 23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2038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7539F-7DFF-4053-9A97-C262DCEBADB5}" type="datetime6">
              <a:rPr lang="fr-FR" smtClean="0"/>
              <a:t>juin 23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67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76854-CD62-4F1C-AE7C-2033FB32E33A}" type="datetime6">
              <a:rPr lang="fr-FR" smtClean="0"/>
              <a:t>juin 23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6802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F0D5B-DD55-4135-B97B-696D9C0BDFA2}" type="datetime6">
              <a:rPr lang="fr-FR" smtClean="0"/>
              <a:t>juin 23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85051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68709-3338-4D15-A4EE-5DB02E498B8E}" type="datetime6">
              <a:rPr lang="fr-FR" smtClean="0"/>
              <a:t>juin 23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012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4915" y="6375367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13154-F05C-4A2B-906E-0A520A69C073}" type="datetime6">
              <a:rPr lang="fr-FR" smtClean="0"/>
              <a:pPr/>
              <a:t>juin 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4BE0E3-454E-49EC-B8A5-89CA073A7ECD}" type="slidenum">
              <a:rPr lang="fr-FR" smtClean="0"/>
              <a:t>‹#›</a:t>
            </a:fld>
            <a:endParaRPr lang="fr-FR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15" y="185323"/>
            <a:ext cx="1649302" cy="36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457" y="6375367"/>
            <a:ext cx="1519418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78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5" Type="http://schemas.microsoft.com/office/2007/relationships/hdphoto" Target="../media/hdphoto3.wdp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5" Type="http://schemas.microsoft.com/office/2007/relationships/hdphoto" Target="../media/hdphoto3.wdp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4854" y="3156811"/>
            <a:ext cx="8177514" cy="750084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+mn-lt"/>
              </a:rPr>
              <a:t>Guide pour </a:t>
            </a:r>
            <a:r>
              <a:rPr lang="en-US" dirty="0" err="1" smtClean="0">
                <a:solidFill>
                  <a:schemeClr val="tx1"/>
                </a:solidFill>
                <a:latin typeface="+mn-lt"/>
              </a:rPr>
              <a:t>formateurs</a:t>
            </a:r>
            <a:r>
              <a:rPr lang="en-US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en-US" dirty="0" smtClean="0">
                <a:solidFill>
                  <a:schemeClr val="tx1"/>
                </a:solidFill>
                <a:latin typeface="+mn-lt"/>
              </a:rPr>
            </a:br>
            <a:r>
              <a:rPr lang="en-US" dirty="0" smtClean="0">
                <a:solidFill>
                  <a:schemeClr val="tx1"/>
                </a:solidFill>
                <a:latin typeface="+mn-lt"/>
              </a:rPr>
              <a:t/>
            </a:r>
            <a:br>
              <a:rPr lang="en-US" dirty="0" smtClean="0">
                <a:solidFill>
                  <a:schemeClr val="tx1"/>
                </a:solidFill>
                <a:latin typeface="+mn-lt"/>
              </a:rPr>
            </a:br>
            <a:r>
              <a:rPr lang="en-US" b="1" dirty="0" smtClean="0">
                <a:solidFill>
                  <a:schemeClr val="tx1"/>
                </a:solidFill>
                <a:latin typeface="+mn-lt"/>
              </a:rPr>
              <a:t>La </a:t>
            </a:r>
            <a:r>
              <a:rPr lang="en-US" b="1" dirty="0" err="1" smtClean="0">
                <a:solidFill>
                  <a:schemeClr val="tx1"/>
                </a:solidFill>
                <a:latin typeface="+mn-lt"/>
              </a:rPr>
              <a:t>définition</a:t>
            </a:r>
            <a:r>
              <a:rPr lang="en-US" b="1" dirty="0" smtClean="0">
                <a:solidFill>
                  <a:schemeClr val="tx1"/>
                </a:solidFill>
                <a:latin typeface="+mn-lt"/>
              </a:rPr>
              <a:t> des </a:t>
            </a:r>
            <a:r>
              <a:rPr lang="en-US" b="1" dirty="0" err="1" smtClean="0">
                <a:solidFill>
                  <a:schemeClr val="tx1"/>
                </a:solidFill>
                <a:latin typeface="+mn-lt"/>
              </a:rPr>
              <a:t>objectifs</a:t>
            </a:r>
            <a:r>
              <a:rPr lang="en-US" b="1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b="1" dirty="0" err="1" smtClean="0">
                <a:solidFill>
                  <a:schemeClr val="tx1"/>
                </a:solidFill>
                <a:latin typeface="+mn-lt"/>
              </a:rPr>
              <a:t>d’apprentissage</a:t>
            </a:r>
            <a:endParaRPr lang="fr-FR" b="1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271" b="11646"/>
          <a:stretch/>
        </p:blipFill>
        <p:spPr>
          <a:xfrm>
            <a:off x="4542492" y="1221072"/>
            <a:ext cx="839536" cy="104634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805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F9605F8-9C51-4B62-99F1-EAB1E34529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36558" y="2254521"/>
            <a:ext cx="2108639" cy="670388"/>
          </a:xfrm>
        </p:spPr>
        <p:txBody>
          <a:bodyPr/>
          <a:lstStyle/>
          <a:p>
            <a:pPr marL="0" indent="0">
              <a:buNone/>
            </a:pPr>
            <a:r>
              <a:rPr lang="en-US" sz="1463" b="1" dirty="0" smtClean="0"/>
              <a:t>PERCEPTION</a:t>
            </a:r>
            <a:endParaRPr lang="fr-FR" sz="1463" b="1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9EAA7AC-79DE-4022-8F20-5FA359DD92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39533" y="2237435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/>
              <a:t>REPRODUCTION</a:t>
            </a:r>
            <a:endParaRPr lang="fr-FR" sz="1463" b="1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3C8F40B-B19A-4A6F-864A-1362A1A145A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83206" y="2254521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/>
              <a:t>PERFECTIONNEMENT</a:t>
            </a:r>
            <a:endParaRPr lang="fr-FR" sz="1463" b="1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7076638-C4B9-49A9-B27A-2F09C1A10D2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191407" y="3835790"/>
            <a:ext cx="1398183" cy="2115236"/>
          </a:xfrm>
        </p:spPr>
        <p:txBody>
          <a:bodyPr/>
          <a:lstStyle/>
          <a:p>
            <a:pPr marL="0" indent="0">
              <a:buNone/>
            </a:pPr>
            <a:r>
              <a:rPr lang="fr-FR" b="1" dirty="0">
                <a:solidFill>
                  <a:srgbClr val="2D7B9A"/>
                </a:solidFill>
              </a:rPr>
              <a:t>Reconnaître</a:t>
            </a:r>
            <a:r>
              <a:rPr lang="fr-FR" dirty="0"/>
              <a:t> des </a:t>
            </a:r>
            <a:r>
              <a:rPr lang="fr-FR" b="1" dirty="0">
                <a:solidFill>
                  <a:srgbClr val="2D7B9A"/>
                </a:solidFill>
              </a:rPr>
              <a:t>gestes</a:t>
            </a:r>
            <a:r>
              <a:rPr lang="fr-FR" dirty="0"/>
              <a:t>, des </a:t>
            </a:r>
            <a:r>
              <a:rPr lang="fr-FR" b="1" dirty="0">
                <a:solidFill>
                  <a:srgbClr val="2D7B9A"/>
                </a:solidFill>
              </a:rPr>
              <a:t>étapes</a:t>
            </a:r>
            <a:r>
              <a:rPr lang="fr-FR" dirty="0"/>
              <a:t> réalisées </a:t>
            </a:r>
            <a:r>
              <a:rPr lang="fr-FR" b="1" dirty="0">
                <a:solidFill>
                  <a:srgbClr val="2D7B9A"/>
                </a:solidFill>
              </a:rPr>
              <a:t>par</a:t>
            </a:r>
            <a:r>
              <a:rPr lang="fr-FR" dirty="0"/>
              <a:t> une </a:t>
            </a:r>
            <a:r>
              <a:rPr lang="fr-FR" b="1" dirty="0">
                <a:solidFill>
                  <a:srgbClr val="2D7B9A"/>
                </a:solidFill>
              </a:rPr>
              <a:t>autre</a:t>
            </a:r>
            <a:r>
              <a:rPr lang="fr-FR" dirty="0"/>
              <a:t> </a:t>
            </a:r>
            <a:r>
              <a:rPr lang="fr-FR" b="1" dirty="0">
                <a:solidFill>
                  <a:srgbClr val="2D7B9A"/>
                </a:solidFill>
              </a:rPr>
              <a:t>personn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 smtClean="0"/>
              <a:t>Apercevoir, définir</a:t>
            </a:r>
            <a:r>
              <a:rPr lang="fr-FR" dirty="0"/>
              <a:t>, discerner,  discriminer, distinguer, identifier, lister, percevoir, reconnaître, repérer, etc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E8F1FDB-F83F-4D8B-A84F-7A922F51F06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99304" y="3831700"/>
            <a:ext cx="1529547" cy="2157427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Poser des </a:t>
            </a:r>
            <a:r>
              <a:rPr lang="fr-FR" b="1" dirty="0">
                <a:solidFill>
                  <a:srgbClr val="2D7B9A"/>
                </a:solidFill>
              </a:rPr>
              <a:t>gestes</a:t>
            </a:r>
            <a:r>
              <a:rPr lang="fr-FR" dirty="0"/>
              <a:t> </a:t>
            </a:r>
            <a:r>
              <a:rPr lang="fr-FR" b="1" dirty="0">
                <a:solidFill>
                  <a:srgbClr val="2D7B9A"/>
                </a:solidFill>
              </a:rPr>
              <a:t>soi-mêm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Appliquer, coordonner, copier, démontrer, </a:t>
            </a:r>
            <a:r>
              <a:rPr lang="fr-FR" dirty="0" smtClean="0"/>
              <a:t>employer, exécuter</a:t>
            </a:r>
            <a:r>
              <a:rPr lang="fr-FR" dirty="0"/>
              <a:t>, imiter, mimer, pratiquer, réaliser, répliquer, reproduire, utiliser, etc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30295FE-4061-46B5-AF50-DFC87990D4C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024132" y="3817587"/>
            <a:ext cx="1398183" cy="2279314"/>
          </a:xfrm>
        </p:spPr>
        <p:txBody>
          <a:bodyPr/>
          <a:lstStyle/>
          <a:p>
            <a:pPr marL="0" indent="0">
              <a:buNone/>
            </a:pPr>
            <a:r>
              <a:rPr lang="fr-FR" dirty="0" smtClean="0"/>
              <a:t>Développer </a:t>
            </a:r>
            <a:r>
              <a:rPr lang="fr-FR" dirty="0"/>
              <a:t>ses </a:t>
            </a:r>
            <a:r>
              <a:rPr lang="fr-FR" b="1" dirty="0">
                <a:solidFill>
                  <a:srgbClr val="2D7B9A"/>
                </a:solidFill>
              </a:rPr>
              <a:t>propres</a:t>
            </a:r>
            <a:r>
              <a:rPr lang="fr-FR" dirty="0"/>
              <a:t> </a:t>
            </a:r>
            <a:r>
              <a:rPr lang="fr-FR" b="1" dirty="0">
                <a:solidFill>
                  <a:srgbClr val="2D7B9A"/>
                </a:solidFill>
              </a:rPr>
              <a:t>techniqu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Anticiper, adapter, améliorer, changer, composer,</a:t>
            </a:r>
          </a:p>
          <a:p>
            <a:pPr marL="0" indent="0">
              <a:buNone/>
            </a:pPr>
            <a:r>
              <a:rPr lang="fr-FR" dirty="0"/>
              <a:t>contrôler, créer, diversifier, improviser, interpréter, modifier, régler, varier, etc.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>
                <a:solidFill>
                  <a:srgbClr val="2D7B9A"/>
                </a:solidFill>
              </a:rPr>
              <a:t>Taxonomie du domaine psychomoteur </a:t>
            </a:r>
            <a:r>
              <a:rPr lang="fr-FR" sz="3200" b="1" dirty="0" smtClean="0">
                <a:solidFill>
                  <a:srgbClr val="2D7B9A"/>
                </a:solidFill>
              </a:rPr>
              <a:t>(</a:t>
            </a:r>
            <a:r>
              <a:rPr lang="fr-FR" sz="3200" b="1" dirty="0" err="1" smtClean="0">
                <a:solidFill>
                  <a:srgbClr val="2D7B9A"/>
                </a:solidFill>
              </a:rPr>
              <a:t>Berthiaume</a:t>
            </a:r>
            <a:r>
              <a:rPr lang="fr-FR" sz="3200" b="1" dirty="0">
                <a:solidFill>
                  <a:srgbClr val="2D7B9A"/>
                </a:solidFill>
              </a:rPr>
              <a:t>/</a:t>
            </a:r>
            <a:r>
              <a:rPr lang="fr-FR" sz="3200" b="1" dirty="0" err="1" smtClean="0">
                <a:solidFill>
                  <a:srgbClr val="2D7B9A"/>
                </a:solidFill>
              </a:rPr>
              <a:t>Daele</a:t>
            </a:r>
            <a:r>
              <a:rPr lang="fr-FR" sz="3200" b="1" dirty="0" smtClean="0">
                <a:solidFill>
                  <a:srgbClr val="2D7B9A"/>
                </a:solidFill>
              </a:rPr>
              <a:t>)</a:t>
            </a:r>
            <a:endParaRPr lang="fr-FR" sz="3200" b="1" dirty="0">
              <a:solidFill>
                <a:srgbClr val="2D7B9A"/>
              </a:solidFill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6" name="Isosceles Triangle 5"/>
          <p:cNvSpPr/>
          <p:nvPr/>
        </p:nvSpPr>
        <p:spPr>
          <a:xfrm rot="16200000">
            <a:off x="4380664" y="704095"/>
            <a:ext cx="505863" cy="5148054"/>
          </a:xfrm>
          <a:prstGeom prst="triangle">
            <a:avLst>
              <a:gd name="adj" fmla="val 0"/>
            </a:avLst>
          </a:prstGeom>
          <a:solidFill>
            <a:srgbClr val="AFDEF9"/>
          </a:solidFill>
          <a:ln>
            <a:solidFill>
              <a:srgbClr val="F0F9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Flowchart: Connector 30"/>
          <p:cNvSpPr/>
          <p:nvPr/>
        </p:nvSpPr>
        <p:spPr>
          <a:xfrm>
            <a:off x="4489785" y="3036257"/>
            <a:ext cx="634154" cy="606145"/>
          </a:xfrm>
          <a:prstGeom prst="flowChartConnector">
            <a:avLst/>
          </a:prstGeom>
          <a:solidFill>
            <a:srgbClr val="2D7B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Flowchart: Connector 34"/>
          <p:cNvSpPr/>
          <p:nvPr/>
        </p:nvSpPr>
        <p:spPr>
          <a:xfrm>
            <a:off x="2573422" y="3036257"/>
            <a:ext cx="634154" cy="606145"/>
          </a:xfrm>
          <a:prstGeom prst="flowChartConnector">
            <a:avLst/>
          </a:prstGeom>
          <a:solidFill>
            <a:srgbClr val="2D7B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Flowchart: Connector 36"/>
          <p:cNvSpPr/>
          <p:nvPr/>
        </p:nvSpPr>
        <p:spPr>
          <a:xfrm>
            <a:off x="6406147" y="3036257"/>
            <a:ext cx="634154" cy="606145"/>
          </a:xfrm>
          <a:prstGeom prst="flowChartConnector">
            <a:avLst/>
          </a:prstGeom>
          <a:solidFill>
            <a:srgbClr val="2D7B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extBox 8"/>
          <p:cNvSpPr txBox="1"/>
          <p:nvPr/>
        </p:nvSpPr>
        <p:spPr>
          <a:xfrm>
            <a:off x="1781788" y="3508224"/>
            <a:ext cx="1108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rgbClr val="2D7B9A"/>
                </a:solidFill>
              </a:rPr>
              <a:t>simple</a:t>
            </a:r>
            <a:endParaRPr lang="fr-FR" sz="1000" i="1" dirty="0">
              <a:solidFill>
                <a:srgbClr val="2D7B9A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47648" y="2835415"/>
            <a:ext cx="1108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>
                <a:solidFill>
                  <a:srgbClr val="2D7B9A"/>
                </a:solidFill>
              </a:rPr>
              <a:t>complexe</a:t>
            </a:r>
            <a:endParaRPr lang="fr-FR" sz="1000" i="1" dirty="0">
              <a:solidFill>
                <a:srgbClr val="2D7B9A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28" y="792000"/>
            <a:ext cx="422935" cy="59821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9/12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5012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2720981" y="4209753"/>
            <a:ext cx="6472282" cy="572210"/>
            <a:chOff x="2255730" y="4577605"/>
            <a:chExt cx="7119570" cy="704880"/>
          </a:xfrm>
          <a:solidFill>
            <a:srgbClr val="AFDEF9"/>
          </a:solidFill>
        </p:grpSpPr>
        <p:sp>
          <p:nvSpPr>
            <p:cNvPr id="23" name="Pentagon 22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Pentagon 4"/>
            <p:cNvSpPr txBox="1"/>
            <p:nvPr/>
          </p:nvSpPr>
          <p:spPr>
            <a:xfrm>
              <a:off x="2431949" y="4577609"/>
              <a:ext cx="6943351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</a:t>
              </a:r>
              <a:r>
                <a:rPr lang="fr-FR" sz="1300" b="1" dirty="0">
                  <a:solidFill>
                    <a:srgbClr val="2D7B9A"/>
                  </a:solidFill>
                </a:rPr>
                <a:t>d’identifier les étapes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à accomplir 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une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opération dans SAP RH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729193" y="2873832"/>
            <a:ext cx="6472282" cy="572206"/>
            <a:chOff x="2255730" y="4577605"/>
            <a:chExt cx="7119569" cy="704876"/>
          </a:xfrm>
          <a:solidFill>
            <a:srgbClr val="AFDEF9"/>
          </a:solidFill>
        </p:grpSpPr>
        <p:sp>
          <p:nvSpPr>
            <p:cNvPr id="26" name="Pentagon 25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Pentagon 4"/>
            <p:cNvSpPr txBox="1"/>
            <p:nvPr/>
          </p:nvSpPr>
          <p:spPr>
            <a:xfrm rot="21600000">
              <a:off x="2431949" y="4577605"/>
              <a:ext cx="6943350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de </a:t>
              </a:r>
              <a:r>
                <a:rPr lang="fr-FR" sz="1300" b="1" dirty="0">
                  <a:solidFill>
                    <a:srgbClr val="2D7B9A"/>
                  </a:solidFill>
                </a:rPr>
                <a:t>contrôler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 si les étapes apprissent sont les plus efficaces pour atteindre le résultat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717407" y="3545061"/>
            <a:ext cx="6472282" cy="572207"/>
            <a:chOff x="2255730" y="4577604"/>
            <a:chExt cx="7119569" cy="704877"/>
          </a:xfrm>
          <a:solidFill>
            <a:srgbClr val="AFDEF9"/>
          </a:solidFill>
        </p:grpSpPr>
        <p:sp>
          <p:nvSpPr>
            <p:cNvPr id="7" name="Pentagon 6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Pentagon 4"/>
            <p:cNvSpPr txBox="1"/>
            <p:nvPr/>
          </p:nvSpPr>
          <p:spPr>
            <a:xfrm>
              <a:off x="2431948" y="4577604"/>
              <a:ext cx="6943351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</a:t>
              </a:r>
              <a:r>
                <a:rPr lang="fr-FR" sz="1300" b="1" dirty="0" smtClean="0">
                  <a:solidFill>
                    <a:srgbClr val="2D7B9A"/>
                  </a:solidFill>
                </a:rPr>
                <a:t>d’exécuter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les étapes d’une opération dans SAP RH</a:t>
              </a: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86078" y="4264271"/>
            <a:ext cx="2043114" cy="463176"/>
          </a:xfrm>
          <a:prstGeom prst="roundRect">
            <a:avLst/>
          </a:prstGeom>
          <a:solidFill>
            <a:srgbClr val="2D7B9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indent="0">
              <a:buNone/>
            </a:pPr>
            <a:r>
              <a:rPr lang="fr-FR" sz="1950" b="1" dirty="0">
                <a:solidFill>
                  <a:schemeClr val="bg1"/>
                </a:solidFill>
              </a:rPr>
              <a:t> 1 - Percevoir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686078" y="3596783"/>
            <a:ext cx="2031329" cy="463176"/>
          </a:xfrm>
          <a:prstGeom prst="roundRect">
            <a:avLst/>
          </a:prstGeom>
          <a:solidFill>
            <a:srgbClr val="2D7B9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2 - Reproduire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686078" y="2929294"/>
            <a:ext cx="2043115" cy="463176"/>
          </a:xfrm>
          <a:prstGeom prst="roundRect">
            <a:avLst/>
          </a:prstGeom>
          <a:solidFill>
            <a:srgbClr val="2D7B9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3 - Perfectionn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9F40FFF-7A9B-4668-AA32-2E4363DF2B6C}"/>
              </a:ext>
            </a:extLst>
          </p:cNvPr>
          <p:cNvSpPr/>
          <p:nvPr/>
        </p:nvSpPr>
        <p:spPr>
          <a:xfrm>
            <a:off x="2889391" y="1630534"/>
            <a:ext cx="6312084" cy="992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63" i="1" dirty="0" smtClean="0"/>
              <a:t>Exemples </a:t>
            </a:r>
            <a:r>
              <a:rPr lang="fr-FR" sz="1463" i="1" dirty="0"/>
              <a:t>illustrant la définition des objectifs d'apprentissage dans le domaine psychomoteur sur les différents niveaux d'apprentissage d'une formation sur le </a:t>
            </a:r>
            <a:r>
              <a:rPr lang="fr-FR" sz="1463" i="1" u="sng" dirty="0"/>
              <a:t>logiciel SAP HR</a:t>
            </a:r>
            <a:endParaRPr lang="fr-FR" sz="1463" i="1" u="sng" dirty="0" smtClean="0"/>
          </a:p>
          <a:p>
            <a:pPr algn="ctr"/>
            <a:endParaRPr lang="fr-FR" sz="1463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800" b="1" dirty="0">
                <a:solidFill>
                  <a:srgbClr val="2D7B9A"/>
                </a:solidFill>
              </a:rPr>
              <a:t>Taxonomie du domaine psychomoteur (</a:t>
            </a:r>
            <a:r>
              <a:rPr lang="fr-FR" sz="2800" b="1" dirty="0" err="1">
                <a:solidFill>
                  <a:srgbClr val="2D7B9A"/>
                </a:solidFill>
              </a:rPr>
              <a:t>Berthiaume</a:t>
            </a:r>
            <a:r>
              <a:rPr lang="fr-FR" sz="2800" b="1" dirty="0">
                <a:solidFill>
                  <a:srgbClr val="2D7B9A"/>
                </a:solidFill>
              </a:rPr>
              <a:t>/</a:t>
            </a:r>
            <a:r>
              <a:rPr lang="fr-FR" sz="2800" b="1" dirty="0" err="1">
                <a:solidFill>
                  <a:srgbClr val="2D7B9A"/>
                </a:solidFill>
              </a:rPr>
              <a:t>Daele</a:t>
            </a:r>
            <a:r>
              <a:rPr lang="fr-FR" sz="2800" b="1" dirty="0">
                <a:solidFill>
                  <a:srgbClr val="2D7B9A"/>
                </a:solidFill>
              </a:rPr>
              <a:t>)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21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7" y="6401122"/>
            <a:ext cx="566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10/12</a:t>
            </a:r>
            <a:endParaRPr lang="fr-FR" dirty="0"/>
          </a:p>
        </p:txBody>
      </p:sp>
      <p:sp>
        <p:nvSpPr>
          <p:cNvPr id="20" name="TextBox 19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28" y="792000"/>
            <a:ext cx="422935" cy="59821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61096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31900" y="1472288"/>
            <a:ext cx="8698722" cy="2883164"/>
          </a:xfrm>
        </p:spPr>
        <p:txBody>
          <a:bodyPr/>
          <a:lstStyle/>
          <a:p>
            <a:pPr marL="0" indent="0">
              <a:buNone/>
            </a:pPr>
            <a:r>
              <a:rPr lang="fr-FR" sz="1800" dirty="0"/>
              <a:t>Un objectif d’apprentissage </a:t>
            </a:r>
            <a:r>
              <a:rPr lang="fr-FR" sz="1800" dirty="0" smtClean="0"/>
              <a:t>doit être </a:t>
            </a:r>
            <a:r>
              <a:rPr lang="fr-FR" sz="1800" b="1" dirty="0" smtClean="0"/>
              <a:t>formulé de manière claire et concise </a:t>
            </a:r>
            <a:r>
              <a:rPr lang="fr-FR" sz="1800" dirty="0" smtClean="0"/>
              <a:t>afin que l’apprenant sache exactement ce qui est attendu de lui à la fin d‘une formation. </a:t>
            </a:r>
          </a:p>
          <a:p>
            <a:pPr marL="0" indent="0">
              <a:buNone/>
            </a:pPr>
            <a:r>
              <a:rPr lang="fr-FR" sz="1800" dirty="0" smtClean="0"/>
              <a:t>La </a:t>
            </a:r>
            <a:r>
              <a:rPr lang="fr-FR" sz="1800" b="1" dirty="0" smtClean="0"/>
              <a:t>méthode « SMART » </a:t>
            </a:r>
            <a:r>
              <a:rPr lang="fr-FR" sz="1800" dirty="0" smtClean="0"/>
              <a:t>vous permet de vérifier au moyen de critères si vos objectifs d’apprentissage sont bien formulés.</a:t>
            </a:r>
          </a:p>
          <a:p>
            <a:pPr marL="0" indent="0">
              <a:buNone/>
            </a:pPr>
            <a:r>
              <a:rPr lang="fr-FR" sz="1800" dirty="0" smtClean="0"/>
              <a:t>Il </a:t>
            </a:r>
            <a:r>
              <a:rPr lang="fr-FR" sz="1800" dirty="0"/>
              <a:t>faut donc que chaque objectif </a:t>
            </a:r>
            <a:r>
              <a:rPr lang="fr-FR" sz="1800" dirty="0" smtClean="0"/>
              <a:t>soit :</a:t>
            </a:r>
            <a:endParaRPr lang="en-US" sz="18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4300" y="75085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925" b="1" dirty="0" smtClean="0">
                <a:solidFill>
                  <a:schemeClr val="tx1"/>
                </a:solidFill>
              </a:rPr>
              <a:t>3. Contrôler si les objectifs respectent les critères  « SMART »</a:t>
            </a:r>
            <a:endParaRPr lang="fr-FR" sz="2925" b="1" dirty="0">
              <a:solidFill>
                <a:schemeClr val="tx1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1317773" y="3776164"/>
            <a:ext cx="6531629" cy="1857381"/>
            <a:chOff x="1220450" y="5055836"/>
            <a:chExt cx="6531629" cy="1857381"/>
          </a:xfrm>
        </p:grpSpPr>
        <p:sp>
          <p:nvSpPr>
            <p:cNvPr id="2" name="Rounded Rectangle 1"/>
            <p:cNvSpPr/>
            <p:nvPr/>
          </p:nvSpPr>
          <p:spPr>
            <a:xfrm>
              <a:off x="1325989" y="5055836"/>
              <a:ext cx="1090951" cy="540557"/>
            </a:xfrm>
            <a:prstGeom prst="roundRect">
              <a:avLst/>
            </a:prstGeom>
            <a:solidFill>
              <a:srgbClr val="9292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/>
                <a:t>S</a:t>
              </a:r>
              <a:endParaRPr lang="fr-FR" b="1" dirty="0"/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2637983" y="5055836"/>
              <a:ext cx="1090951" cy="540557"/>
            </a:xfrm>
            <a:prstGeom prst="roundRect">
              <a:avLst/>
            </a:prstGeom>
            <a:solidFill>
              <a:srgbClr val="9292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M</a:t>
              </a:r>
              <a:endParaRPr lang="fr-FR" b="1" dirty="0"/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949977" y="5055836"/>
              <a:ext cx="1090951" cy="540557"/>
            </a:xfrm>
            <a:prstGeom prst="roundRect">
              <a:avLst/>
            </a:prstGeom>
            <a:solidFill>
              <a:srgbClr val="9292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/>
                <a:t>A</a:t>
              </a:r>
              <a:endParaRPr lang="fr-FR" b="1" dirty="0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5261972" y="5055836"/>
              <a:ext cx="1090951" cy="540557"/>
            </a:xfrm>
            <a:prstGeom prst="roundRect">
              <a:avLst/>
            </a:prstGeom>
            <a:solidFill>
              <a:srgbClr val="9292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/>
                <a:t>R</a:t>
              </a:r>
              <a:endParaRPr lang="fr-FR" b="1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6573966" y="5055836"/>
              <a:ext cx="1090951" cy="540557"/>
            </a:xfrm>
            <a:prstGeom prst="roundRect">
              <a:avLst/>
            </a:prstGeom>
            <a:solidFill>
              <a:srgbClr val="9292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T</a:t>
              </a:r>
              <a:endParaRPr lang="fr-FR" b="1" dirty="0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1842684" y="5735507"/>
              <a:ext cx="0" cy="254380"/>
            </a:xfrm>
            <a:prstGeom prst="line">
              <a:avLst/>
            </a:prstGeom>
            <a:ln w="12700">
              <a:solidFill>
                <a:srgbClr val="92929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220450" y="5989887"/>
              <a:ext cx="12444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 smtClean="0"/>
                <a:t>S</a:t>
              </a:r>
              <a:r>
                <a:rPr lang="en-US" dirty="0" err="1" smtClean="0"/>
                <a:t>pécifique</a:t>
              </a:r>
              <a:endParaRPr lang="fr-FR" dirty="0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4486264" y="5735507"/>
              <a:ext cx="0" cy="254380"/>
            </a:xfrm>
            <a:prstGeom prst="line">
              <a:avLst/>
            </a:prstGeom>
            <a:ln w="12700">
              <a:solidFill>
                <a:srgbClr val="92929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3864030" y="5989887"/>
              <a:ext cx="12444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A</a:t>
              </a:r>
              <a:r>
                <a:rPr lang="en-US" dirty="0"/>
                <a:t>cceptable</a:t>
              </a:r>
              <a:endParaRPr lang="fr-FR" dirty="0"/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7129845" y="5735507"/>
              <a:ext cx="0" cy="254380"/>
            </a:xfrm>
            <a:prstGeom prst="line">
              <a:avLst/>
            </a:prstGeom>
            <a:ln w="12700">
              <a:solidFill>
                <a:srgbClr val="92929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6507610" y="5989887"/>
              <a:ext cx="124446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 smtClean="0"/>
                <a:t>T</a:t>
              </a:r>
              <a:r>
                <a:rPr lang="en-US" dirty="0" err="1" smtClean="0"/>
                <a:t>emporell-ement</a:t>
              </a:r>
              <a:r>
                <a:rPr lang="en-US" dirty="0" smtClean="0"/>
                <a:t> </a:t>
              </a:r>
              <a:r>
                <a:rPr lang="en-US" dirty="0" err="1" smtClean="0"/>
                <a:t>définis</a:t>
              </a:r>
              <a:endParaRPr lang="fr-FR" dirty="0"/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3164474" y="5735507"/>
              <a:ext cx="0" cy="254380"/>
            </a:xfrm>
            <a:prstGeom prst="line">
              <a:avLst/>
            </a:prstGeom>
            <a:ln w="12700">
              <a:solidFill>
                <a:srgbClr val="92929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2637983" y="5989887"/>
              <a:ext cx="12444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 smtClean="0"/>
                <a:t>M</a:t>
              </a:r>
              <a:r>
                <a:rPr lang="en-US" dirty="0" err="1" smtClean="0"/>
                <a:t>esurable</a:t>
              </a:r>
              <a:endParaRPr lang="fr-FR" dirty="0"/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5808054" y="5735507"/>
              <a:ext cx="0" cy="254380"/>
            </a:xfrm>
            <a:prstGeom prst="line">
              <a:avLst/>
            </a:prstGeom>
            <a:ln w="12700">
              <a:solidFill>
                <a:srgbClr val="929293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5140013" y="5989887"/>
              <a:ext cx="12444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/>
                <a:t>R</a:t>
              </a:r>
              <a:r>
                <a:rPr lang="en-US" dirty="0" err="1"/>
                <a:t>éaliste</a:t>
              </a:r>
              <a:endParaRPr lang="fr-FR" dirty="0"/>
            </a:p>
          </p:txBody>
        </p:sp>
      </p:grpSp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7" y="6370642"/>
            <a:ext cx="566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1"/>
                </a:solidFill>
              </a:rPr>
              <a:t>11/12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0828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25C66E-0BE8-4B77-8936-A28D84778A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2344" y="1573962"/>
            <a:ext cx="1959930" cy="369871"/>
          </a:xfrm>
        </p:spPr>
        <p:txBody>
          <a:bodyPr anchor="ctr"/>
          <a:lstStyle/>
          <a:p>
            <a:pPr marL="0" indent="0" algn="ctr">
              <a:buNone/>
            </a:pPr>
            <a:r>
              <a:rPr lang="fr-FR" sz="3250" b="1" dirty="0">
                <a:solidFill>
                  <a:srgbClr val="929293"/>
                </a:solidFill>
              </a:rPr>
              <a:t>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19D350-7D08-4322-80D7-B43A2348613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922660" y="1383174"/>
            <a:ext cx="7605000" cy="907525"/>
          </a:xfrm>
        </p:spPr>
        <p:txBody>
          <a:bodyPr/>
          <a:lstStyle/>
          <a:p>
            <a:pPr marL="0" indent="0">
              <a:buNone/>
            </a:pPr>
            <a:r>
              <a:rPr lang="fr-FR" sz="1500" b="1" dirty="0">
                <a:solidFill>
                  <a:srgbClr val="929293"/>
                </a:solidFill>
              </a:rPr>
              <a:t>Spécifique</a:t>
            </a:r>
          </a:p>
          <a:p>
            <a:pPr marL="0" indent="0">
              <a:buNone/>
            </a:pPr>
            <a:r>
              <a:rPr lang="fr-FR" sz="1500" dirty="0"/>
              <a:t>L’objectif est assez détaillé pour que vous compreniez bien ce que vous voulez réaliser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836E36F-7723-43F8-9E69-852074CF637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2344" y="2690587"/>
            <a:ext cx="1959930" cy="369871"/>
          </a:xfrm>
        </p:spPr>
        <p:txBody>
          <a:bodyPr anchor="ctr"/>
          <a:lstStyle/>
          <a:p>
            <a:pPr marL="0" indent="0" algn="ctr">
              <a:buNone/>
            </a:pPr>
            <a:r>
              <a:rPr lang="fr-FR" sz="3250" b="1" dirty="0">
                <a:solidFill>
                  <a:srgbClr val="929293"/>
                </a:solidFill>
              </a:rPr>
              <a:t>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6A4603A-B7F9-4528-B4BE-53381C297EF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881409" y="2444993"/>
            <a:ext cx="7605000" cy="873546"/>
          </a:xfrm>
        </p:spPr>
        <p:txBody>
          <a:bodyPr/>
          <a:lstStyle/>
          <a:p>
            <a:r>
              <a:rPr lang="fr-FR" sz="1500" b="1" dirty="0">
                <a:solidFill>
                  <a:srgbClr val="929293"/>
                </a:solidFill>
              </a:rPr>
              <a:t>Mesurable</a:t>
            </a:r>
          </a:p>
          <a:p>
            <a:pPr marL="0" indent="0">
              <a:buNone/>
            </a:pPr>
            <a:r>
              <a:rPr lang="fr-FR" sz="1500" dirty="0"/>
              <a:t>L’objectif doit pouvoir être mesuré pour que vous sachiez lorsqu’il est atteint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273B7C-B221-4578-9185-7358F2BEAA0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53600" y="3741528"/>
            <a:ext cx="1959930" cy="369871"/>
          </a:xfrm>
        </p:spPr>
        <p:txBody>
          <a:bodyPr anchor="ctr"/>
          <a:lstStyle/>
          <a:p>
            <a:pPr marL="0" indent="0" algn="ctr">
              <a:buNone/>
            </a:pPr>
            <a:r>
              <a:rPr lang="fr-FR" sz="3250" b="1" dirty="0">
                <a:solidFill>
                  <a:srgbClr val="929293"/>
                </a:solidFill>
              </a:rPr>
              <a:t>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0141F4-D6AB-47CA-B2D3-235108BF050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922660" y="3472833"/>
            <a:ext cx="7605000" cy="903702"/>
          </a:xfrm>
        </p:spPr>
        <p:txBody>
          <a:bodyPr/>
          <a:lstStyle/>
          <a:p>
            <a:r>
              <a:rPr lang="fr-FR" sz="1500" b="1" dirty="0">
                <a:solidFill>
                  <a:srgbClr val="929293"/>
                </a:solidFill>
              </a:rPr>
              <a:t>Acceptables</a:t>
            </a:r>
          </a:p>
          <a:p>
            <a:pPr marL="0" indent="0">
              <a:buNone/>
            </a:pPr>
            <a:r>
              <a:rPr lang="fr-FR" sz="1500" dirty="0"/>
              <a:t>Vous </a:t>
            </a:r>
            <a:r>
              <a:rPr lang="fr-FR" sz="1500" dirty="0" smtClean="0"/>
              <a:t>comprenez </a:t>
            </a:r>
            <a:r>
              <a:rPr lang="fr-FR" sz="1500" dirty="0"/>
              <a:t>bien ce que vous devez faire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F8170A-8EAC-4DBE-9EF0-F460F79F6AB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53600" y="4773590"/>
            <a:ext cx="1959930" cy="369871"/>
          </a:xfrm>
        </p:spPr>
        <p:txBody>
          <a:bodyPr anchor="ctr"/>
          <a:lstStyle/>
          <a:p>
            <a:pPr marL="0" indent="0" algn="ctr">
              <a:buNone/>
            </a:pPr>
            <a:r>
              <a:rPr lang="fr-FR" sz="3250" b="1" dirty="0">
                <a:solidFill>
                  <a:srgbClr val="929293"/>
                </a:solidFill>
              </a:rPr>
              <a:t>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DA4F3C6-ADA2-4673-8865-62DB8DA5CD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922660" y="4504909"/>
            <a:ext cx="8300610" cy="903688"/>
          </a:xfrm>
        </p:spPr>
        <p:txBody>
          <a:bodyPr/>
          <a:lstStyle/>
          <a:p>
            <a:r>
              <a:rPr lang="fr-FR" sz="1500" b="1" dirty="0">
                <a:solidFill>
                  <a:srgbClr val="929293"/>
                </a:solidFill>
              </a:rPr>
              <a:t>Réaliste</a:t>
            </a:r>
          </a:p>
          <a:p>
            <a:pPr marL="0" indent="0">
              <a:buNone/>
            </a:pPr>
            <a:r>
              <a:rPr lang="fr-FR" sz="1500" dirty="0"/>
              <a:t>Votre objectif s’applique bien à votre rôle actuel ou à un autre rôle que vous prévoyez </a:t>
            </a:r>
            <a:r>
              <a:rPr lang="fr-FR" sz="1500" dirty="0" smtClean="0"/>
              <a:t>d’adopter</a:t>
            </a:r>
            <a:r>
              <a:rPr lang="fr-FR" sz="1500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B1FCB02-6449-45F7-81F4-23510FEC9F73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53600" y="5808925"/>
            <a:ext cx="1959930" cy="369871"/>
          </a:xfrm>
        </p:spPr>
        <p:txBody>
          <a:bodyPr anchor="ctr"/>
          <a:lstStyle/>
          <a:p>
            <a:pPr marL="0" indent="0" algn="ctr">
              <a:buNone/>
            </a:pPr>
            <a:r>
              <a:rPr lang="fr-FR" sz="3250" b="1" dirty="0">
                <a:solidFill>
                  <a:srgbClr val="929293"/>
                </a:solidFill>
              </a:rPr>
              <a:t>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1AB0FE-1D84-4C5D-A021-144B2C3374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22660" y="5547526"/>
            <a:ext cx="7605000" cy="892671"/>
          </a:xfrm>
        </p:spPr>
        <p:txBody>
          <a:bodyPr/>
          <a:lstStyle/>
          <a:p>
            <a:r>
              <a:rPr lang="fr-FR" sz="1500" b="1" dirty="0">
                <a:solidFill>
                  <a:srgbClr val="929293"/>
                </a:solidFill>
              </a:rPr>
              <a:t>Temporellement définis</a:t>
            </a:r>
          </a:p>
          <a:p>
            <a:pPr marL="0" indent="0">
              <a:buNone/>
            </a:pPr>
            <a:r>
              <a:rPr lang="fr-FR" sz="1500" dirty="0"/>
              <a:t>Une date butoir est </a:t>
            </a:r>
            <a:r>
              <a:rPr lang="fr-FR" sz="1500" dirty="0" smtClean="0"/>
              <a:t>associée </a:t>
            </a:r>
            <a:r>
              <a:rPr lang="fr-FR" sz="1500" dirty="0"/>
              <a:t>à l’objectif.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925" b="1" dirty="0" smtClean="0">
                <a:solidFill>
                  <a:srgbClr val="929293"/>
                </a:solidFill>
              </a:rPr>
              <a:t>L’objectif d’apprentissage « SMART »</a:t>
            </a:r>
            <a:endParaRPr lang="fr-FR" sz="2925" b="1" dirty="0">
              <a:solidFill>
                <a:srgbClr val="929293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7" y="6401122"/>
            <a:ext cx="5661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12/12</a:t>
            </a:r>
            <a:endParaRPr lang="fr-FR" dirty="0"/>
          </a:p>
        </p:txBody>
      </p:sp>
      <p:sp>
        <p:nvSpPr>
          <p:cNvPr id="20" name="TextBox 19"/>
          <p:cNvSpPr txBox="1"/>
          <p:nvPr/>
        </p:nvSpPr>
        <p:spPr>
          <a:xfrm>
            <a:off x="452344" y="6489248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5144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84300" y="1415755"/>
            <a:ext cx="8698722" cy="4985367"/>
          </a:xfrm>
        </p:spPr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endParaRPr lang="fr-FR" sz="800" dirty="0" smtClean="0"/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 smtClean="0"/>
              <a:t>Ce document vous aidera à : </a:t>
            </a:r>
          </a:p>
          <a:p>
            <a:pPr marL="342900" indent="-34290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sz="1800" dirty="0"/>
              <a:t>d</a:t>
            </a:r>
            <a:r>
              <a:rPr lang="fr-FR" sz="1800" dirty="0" smtClean="0"/>
              <a:t>éterminer les </a:t>
            </a:r>
            <a:r>
              <a:rPr lang="fr-FR" sz="1800" b="1" dirty="0" smtClean="0"/>
              <a:t>domaines de compétence </a:t>
            </a:r>
            <a:r>
              <a:rPr lang="fr-FR" sz="1800" dirty="0" smtClean="0"/>
              <a:t>(cognitif, affectif, psychomoteur) et les </a:t>
            </a:r>
            <a:r>
              <a:rPr lang="fr-FR" sz="1800" b="1" dirty="0" smtClean="0"/>
              <a:t>niveaux d’apprentissage</a:t>
            </a:r>
            <a:r>
              <a:rPr lang="fr-FR" sz="1800" dirty="0" smtClean="0"/>
              <a:t> (base, intermédiaire, avancé) visés par votre formation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800" b="1" dirty="0" smtClean="0"/>
              <a:t>formuler </a:t>
            </a:r>
            <a:r>
              <a:rPr lang="fr-FR" sz="1800" b="1" dirty="0"/>
              <a:t>les objectifs </a:t>
            </a:r>
            <a:r>
              <a:rPr lang="fr-FR" sz="1800" b="1" dirty="0" smtClean="0"/>
              <a:t>d’apprentissage </a:t>
            </a:r>
            <a:r>
              <a:rPr lang="fr-FR" sz="1800" dirty="0" smtClean="0"/>
              <a:t>en fonction des domaines de compétence et des niveaux d’apprentissage visés</a:t>
            </a:r>
          </a:p>
          <a:p>
            <a:pPr marL="342900" indent="-342900">
              <a:buFont typeface="+mj-lt"/>
              <a:buAutoNum type="arabicPeriod"/>
            </a:pPr>
            <a:r>
              <a:rPr lang="fr-FR" sz="1800" b="1" dirty="0"/>
              <a:t>c</a:t>
            </a:r>
            <a:r>
              <a:rPr lang="fr-FR" sz="1800" b="1" dirty="0" smtClean="0"/>
              <a:t>ontrôler</a:t>
            </a:r>
            <a:r>
              <a:rPr lang="fr-FR" sz="1800" dirty="0" smtClean="0"/>
              <a:t> </a:t>
            </a:r>
            <a:r>
              <a:rPr lang="fr-FR" sz="1800" dirty="0"/>
              <a:t>si les objectifs </a:t>
            </a:r>
            <a:r>
              <a:rPr lang="fr-FR" sz="1800" dirty="0" smtClean="0"/>
              <a:t>d’apprentissage respectent </a:t>
            </a:r>
            <a:r>
              <a:rPr lang="fr-FR" sz="1800" dirty="0"/>
              <a:t>les </a:t>
            </a:r>
            <a:r>
              <a:rPr lang="fr-FR" sz="1800" b="1" dirty="0"/>
              <a:t>critères  « SMART </a:t>
            </a:r>
            <a:r>
              <a:rPr lang="fr-FR" sz="1800" b="1" dirty="0" smtClean="0"/>
              <a:t>» </a:t>
            </a:r>
            <a:r>
              <a:rPr lang="fr-FR" sz="1800" dirty="0" smtClean="0"/>
              <a:t>(spécifique, mesurable, acceptable, réaliste, temporellement défini)</a:t>
            </a:r>
            <a:endParaRPr lang="fr-FR" sz="1800" dirty="0"/>
          </a:p>
          <a:p>
            <a:pPr marL="0" indent="0" algn="just">
              <a:lnSpc>
                <a:spcPct val="150000"/>
              </a:lnSpc>
              <a:buNone/>
            </a:pPr>
            <a:endParaRPr lang="fr-FR" sz="1700" dirty="0" smtClean="0"/>
          </a:p>
          <a:p>
            <a:pPr marL="0" indent="0" algn="just">
              <a:lnSpc>
                <a:spcPct val="150000"/>
              </a:lnSpc>
              <a:buNone/>
            </a:pPr>
            <a:endParaRPr lang="fr-FR" sz="17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4300" y="75085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925" b="1" dirty="0" smtClean="0">
                <a:solidFill>
                  <a:schemeClr val="tx1"/>
                </a:solidFill>
              </a:rPr>
              <a:t>Avant propos</a:t>
            </a:r>
            <a:endParaRPr lang="fr-FR" sz="2925" b="1" dirty="0">
              <a:solidFill>
                <a:schemeClr val="tx1"/>
              </a:solidFill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>
                <a:solidFill>
                  <a:schemeClr val="tx1"/>
                </a:solidFill>
              </a:rPr>
              <a:t>1/12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5380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62813" y="1360293"/>
            <a:ext cx="8698722" cy="4585890"/>
          </a:xfrm>
        </p:spPr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 smtClean="0">
                <a:solidFill>
                  <a:srgbClr val="E4077E"/>
                </a:solidFill>
              </a:rPr>
              <a:t>Qu’est-ce qu’un objectifs d’apprentissage?</a:t>
            </a: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 smtClean="0"/>
              <a:t>Un objectif d’apprentissage décrit de manière claire et concise ce que l’apprenant est censé être capable de faire suite à avoir suivi une formation.</a:t>
            </a: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 smtClean="0">
                <a:solidFill>
                  <a:srgbClr val="E4077E"/>
                </a:solidFill>
              </a:rPr>
              <a:t>Comment formule-t-on un objectif d’apprentissage?</a:t>
            </a: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/>
              <a:t>Un objectif d'apprentissage doit toujours comprendre un </a:t>
            </a:r>
            <a:r>
              <a:rPr lang="fr-FR" sz="1800" b="1" dirty="0"/>
              <a:t>verbe </a:t>
            </a:r>
            <a:r>
              <a:rPr lang="fr-FR" sz="1800" dirty="0"/>
              <a:t>et un </a:t>
            </a:r>
            <a:r>
              <a:rPr lang="fr-FR" sz="1800" b="1" dirty="0"/>
              <a:t>complément</a:t>
            </a:r>
            <a:r>
              <a:rPr lang="fr-FR" sz="1800" dirty="0"/>
              <a:t> qui ensemble </a:t>
            </a:r>
            <a:r>
              <a:rPr lang="fr-FR" sz="1800" b="1" dirty="0"/>
              <a:t>décrivent</a:t>
            </a:r>
            <a:r>
              <a:rPr lang="fr-FR" sz="1800" dirty="0"/>
              <a:t> </a:t>
            </a:r>
            <a:r>
              <a:rPr lang="fr-FR" sz="1800" b="1" dirty="0"/>
              <a:t>l'action</a:t>
            </a:r>
            <a:r>
              <a:rPr lang="fr-FR" sz="1800" dirty="0"/>
              <a:t> ou le </a:t>
            </a:r>
            <a:r>
              <a:rPr lang="fr-FR" sz="1800" b="1" dirty="0"/>
              <a:t>comportement</a:t>
            </a:r>
            <a:r>
              <a:rPr lang="fr-FR" sz="1800" dirty="0"/>
              <a:t> </a:t>
            </a:r>
            <a:r>
              <a:rPr lang="fr-FR" sz="1800" b="1" dirty="0"/>
              <a:t>concret</a:t>
            </a:r>
            <a:r>
              <a:rPr lang="fr-FR" sz="1800" dirty="0"/>
              <a:t> que l'apprenant doit être capable de réaliser </a:t>
            </a:r>
            <a:r>
              <a:rPr lang="fr-FR" sz="1800" dirty="0" smtClean="0"/>
              <a:t>après avoir suivi la formation.</a:t>
            </a: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 smtClean="0"/>
              <a:t>Pour la rédaction d’un objectif d’apprentissage, vous pouvez donc appliquer la formule suivante:</a:t>
            </a: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2000" dirty="0" smtClean="0"/>
              <a:t>« </a:t>
            </a:r>
            <a:r>
              <a:rPr lang="fr-FR" sz="2000" b="1" dirty="0" smtClean="0"/>
              <a:t>À </a:t>
            </a:r>
            <a:r>
              <a:rPr lang="fr-FR" sz="2000" b="1" dirty="0"/>
              <a:t>la fin de la </a:t>
            </a:r>
            <a:r>
              <a:rPr lang="fr-FR" sz="2000" b="1" dirty="0" smtClean="0"/>
              <a:t>formation, </a:t>
            </a:r>
            <a:r>
              <a:rPr lang="fr-FR" sz="2000" b="1" dirty="0"/>
              <a:t>l'apprenant </a:t>
            </a:r>
            <a:r>
              <a:rPr lang="fr-FR" sz="2000" b="1" dirty="0" smtClean="0"/>
              <a:t>sera </a:t>
            </a:r>
            <a:r>
              <a:rPr lang="fr-FR" sz="2000" b="1" dirty="0"/>
              <a:t>capable </a:t>
            </a:r>
            <a:r>
              <a:rPr lang="fr-FR" sz="2000" b="1" dirty="0" smtClean="0"/>
              <a:t>de [verbe d'action] + </a:t>
            </a:r>
            <a:r>
              <a:rPr lang="fr-FR" sz="2000" b="1" dirty="0"/>
              <a:t>[</a:t>
            </a:r>
            <a:r>
              <a:rPr lang="fr-FR" sz="2000" b="1" dirty="0" smtClean="0"/>
              <a:t>complément]</a:t>
            </a:r>
            <a:r>
              <a:rPr lang="fr-FR" sz="2000" dirty="0" smtClean="0"/>
              <a:t>. »</a:t>
            </a:r>
          </a:p>
          <a:p>
            <a:pPr marL="457200" lvl="1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800" dirty="0" smtClean="0">
                <a:solidFill>
                  <a:srgbClr val="E4077E"/>
                </a:solidFill>
              </a:rPr>
              <a:t>ATTENTION:</a:t>
            </a:r>
            <a:endParaRPr lang="en-US" sz="1800" dirty="0">
              <a:solidFill>
                <a:srgbClr val="E4077E"/>
              </a:solidFill>
            </a:endParaRPr>
          </a:p>
          <a:p>
            <a:pPr marL="457200" lvl="1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600" dirty="0" smtClean="0"/>
              <a:t>Veillez à ne pas utiliser pas des </a:t>
            </a:r>
            <a:r>
              <a:rPr lang="fr-FR" sz="1600" dirty="0"/>
              <a:t>verbes comme savoir, connaître, </a:t>
            </a:r>
            <a:r>
              <a:rPr lang="fr-FR" sz="1600" dirty="0" smtClean="0"/>
              <a:t>comprendre, avoir des notions, etc</a:t>
            </a:r>
            <a:r>
              <a:rPr lang="fr-FR" sz="1600" dirty="0"/>
              <a:t>. </a:t>
            </a:r>
            <a:r>
              <a:rPr lang="fr-FR" sz="1600" dirty="0" smtClean="0"/>
              <a:t>dans vos objectifs d’apprentissage, </a:t>
            </a:r>
            <a:r>
              <a:rPr lang="fr-FR" sz="1600" dirty="0"/>
              <a:t>car </a:t>
            </a:r>
            <a:r>
              <a:rPr lang="fr-FR" sz="1600" dirty="0" smtClean="0"/>
              <a:t>ils </a:t>
            </a:r>
            <a:r>
              <a:rPr lang="fr-FR" sz="1600" b="1" dirty="0"/>
              <a:t>ne </a:t>
            </a:r>
            <a:r>
              <a:rPr lang="fr-FR" sz="1600" b="1" dirty="0" smtClean="0"/>
              <a:t>décrivent </a:t>
            </a:r>
            <a:r>
              <a:rPr lang="fr-FR" sz="1600" b="1" dirty="0"/>
              <a:t>pas une action </a:t>
            </a:r>
            <a:r>
              <a:rPr lang="fr-FR" sz="1600" dirty="0"/>
              <a:t>et ne sont </a:t>
            </a:r>
            <a:r>
              <a:rPr lang="fr-FR" sz="1600" b="1" dirty="0" smtClean="0"/>
              <a:t>ni </a:t>
            </a:r>
            <a:r>
              <a:rPr lang="fr-FR" sz="1600" b="1" dirty="0"/>
              <a:t>observables </a:t>
            </a:r>
            <a:r>
              <a:rPr lang="fr-FR" sz="1600" b="1" dirty="0" smtClean="0"/>
              <a:t>ni mesurables. </a:t>
            </a:r>
            <a:endParaRPr lang="fr-FR" sz="1600" b="1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4300" y="75085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925" b="1" dirty="0" smtClean="0">
                <a:solidFill>
                  <a:schemeClr val="tx1"/>
                </a:solidFill>
              </a:rPr>
              <a:t>Introduction</a:t>
            </a:r>
            <a:endParaRPr lang="fr-FR" sz="2925" b="1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81" b="30586"/>
          <a:stretch/>
        </p:blipFill>
        <p:spPr>
          <a:xfrm>
            <a:off x="358065" y="5407107"/>
            <a:ext cx="765937" cy="761759"/>
          </a:xfrm>
          <a:prstGeom prst="rect">
            <a:avLst/>
          </a:prstGeom>
        </p:spPr>
      </p:pic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2/12</a:t>
            </a:r>
            <a:endParaRPr lang="fr-FR" dirty="0"/>
          </a:p>
        </p:txBody>
      </p:sp>
      <p:sp>
        <p:nvSpPr>
          <p:cNvPr id="7" name="TextBox 6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6407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300" y="750850"/>
            <a:ext cx="9069295" cy="609443"/>
          </a:xfrm>
        </p:spPr>
        <p:txBody>
          <a:bodyPr>
            <a:normAutofit fontScale="90000"/>
          </a:bodyPr>
          <a:lstStyle/>
          <a:p>
            <a:r>
              <a:rPr lang="fr-FR" sz="2925" b="1" dirty="0" smtClean="0">
                <a:solidFill>
                  <a:schemeClr val="tx1"/>
                </a:solidFill>
              </a:rPr>
              <a:t>1. Déterminer le domaine et le niveau des objectifs d’apprentissage</a:t>
            </a:r>
            <a:endParaRPr lang="fr-FR" sz="2925" b="1" dirty="0">
              <a:solidFill>
                <a:schemeClr val="tx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8FFBE31-BE63-4C70-A0C8-5060D76D9D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832618"/>
              </p:ext>
            </p:extLst>
          </p:nvPr>
        </p:nvGraphicFramePr>
        <p:xfrm>
          <a:off x="2727960" y="3197103"/>
          <a:ext cx="6269003" cy="2696602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442657">
                  <a:extLst>
                    <a:ext uri="{9D8B030D-6E8A-4147-A177-3AD203B41FA5}">
                      <a16:colId xmlns:a16="http://schemas.microsoft.com/office/drawing/2014/main" val="1819078495"/>
                    </a:ext>
                  </a:extLst>
                </a:gridCol>
                <a:gridCol w="1608782">
                  <a:extLst>
                    <a:ext uri="{9D8B030D-6E8A-4147-A177-3AD203B41FA5}">
                      <a16:colId xmlns:a16="http://schemas.microsoft.com/office/drawing/2014/main" val="355584235"/>
                    </a:ext>
                  </a:extLst>
                </a:gridCol>
                <a:gridCol w="1608782">
                  <a:extLst>
                    <a:ext uri="{9D8B030D-6E8A-4147-A177-3AD203B41FA5}">
                      <a16:colId xmlns:a16="http://schemas.microsoft.com/office/drawing/2014/main" val="4217190935"/>
                    </a:ext>
                  </a:extLst>
                </a:gridCol>
                <a:gridCol w="1608782">
                  <a:extLst>
                    <a:ext uri="{9D8B030D-6E8A-4147-A177-3AD203B41FA5}">
                      <a16:colId xmlns:a16="http://schemas.microsoft.com/office/drawing/2014/main" val="538091663"/>
                    </a:ext>
                  </a:extLst>
                </a:gridCol>
              </a:tblGrid>
              <a:tr h="670236">
                <a:tc>
                  <a:txBody>
                    <a:bodyPr/>
                    <a:lstStyle/>
                    <a:p>
                      <a:pPr algn="ctr"/>
                      <a:r>
                        <a:rPr lang="fr-FR" sz="1300" b="0" noProof="0" dirty="0" smtClean="0">
                          <a:solidFill>
                            <a:schemeClr val="bg2"/>
                          </a:solidFill>
                          <a:latin typeface="+mj-lt"/>
                        </a:rPr>
                        <a:t> </a:t>
                      </a:r>
                      <a:endParaRPr lang="fr-FR" sz="1300" b="0" noProof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3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Cognitif</a:t>
                      </a:r>
                      <a:endParaRPr lang="fr-FR" sz="13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3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Affectif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3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     Psychomoteur</a:t>
                      </a:r>
                      <a:endParaRPr lang="fr-FR" sz="13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814331"/>
                  </a:ext>
                </a:extLst>
              </a:tr>
              <a:tr h="633135">
                <a:tc>
                  <a:txBody>
                    <a:bodyPr/>
                    <a:lstStyle/>
                    <a:p>
                      <a:pPr algn="ctr"/>
                      <a:r>
                        <a:rPr lang="en-US" sz="13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Basic</a:t>
                      </a:r>
                      <a:endParaRPr lang="fr-FR" sz="13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Connaissance</a:t>
                      </a:r>
                      <a:endParaRPr lang="fr-FR" sz="15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Réception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3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Perception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DE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9333240"/>
                  </a:ext>
                </a:extLst>
              </a:tr>
              <a:tr h="633135">
                <a:tc>
                  <a:txBody>
                    <a:bodyPr/>
                    <a:lstStyle/>
                    <a:p>
                      <a:pPr algn="ctr"/>
                      <a:r>
                        <a:rPr lang="fr-FR" sz="13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Intermédiaire</a:t>
                      </a:r>
                    </a:p>
                  </a:txBody>
                  <a:tcPr marL="74295" marR="74295" marT="37148" marB="37148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Compréhension</a:t>
                      </a:r>
                      <a:b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fr-FR" sz="1500" b="1" kern="120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pplication</a:t>
                      </a:r>
                      <a:endParaRPr lang="fr-FR" sz="1500" b="1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32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Valorisation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07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Reproduction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AD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271450"/>
                  </a:ext>
                </a:extLst>
              </a:tr>
              <a:tr h="633135">
                <a:tc>
                  <a:txBody>
                    <a:bodyPr/>
                    <a:lstStyle/>
                    <a:p>
                      <a:pPr algn="ctr"/>
                      <a:r>
                        <a:rPr lang="fr-FR" sz="1300" b="1" noProof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Avancé</a:t>
                      </a:r>
                      <a:endParaRPr lang="fr-FR" sz="1300" b="1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4295" marR="74295" marT="37148" marB="37148"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kern="120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nalyser</a:t>
                      </a:r>
                      <a:r>
                        <a:rPr lang="fr-FR" sz="15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, </a:t>
                      </a:r>
                      <a:endParaRPr lang="fr-FR" sz="1500" b="1" kern="1200" noProof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500" b="1" kern="1200" noProof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ynthèse</a:t>
                      </a:r>
                      <a:endParaRPr lang="fr-FR" sz="1500" b="1" kern="1200" noProof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fr-FR" sz="1500" b="1" kern="120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Évaluer</a:t>
                      </a:r>
                      <a:endParaRPr lang="fr-FR" sz="1500" b="1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7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Adoption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106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87425"/>
                      <a:r>
                        <a:rPr lang="fr-FR" sz="15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Perfectionnement</a:t>
                      </a:r>
                    </a:p>
                  </a:txBody>
                  <a:tcPr marL="74295" marR="74295" marT="37148" marB="3714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7B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298492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3E9160F-77AB-4F14-BEE3-88AFBF9F5575}"/>
              </a:ext>
            </a:extLst>
          </p:cNvPr>
          <p:cNvSpPr txBox="1"/>
          <p:nvPr/>
        </p:nvSpPr>
        <p:spPr>
          <a:xfrm>
            <a:off x="1396194" y="6478074"/>
            <a:ext cx="351039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50" dirty="0"/>
              <a:t>Source : L’identification et la rédaction des objectifs pédagogiques</a:t>
            </a:r>
          </a:p>
          <a:p>
            <a:r>
              <a:rPr lang="fr-FR" sz="650" dirty="0"/>
              <a:t>Amaury </a:t>
            </a:r>
            <a:r>
              <a:rPr lang="fr-FR" sz="650" dirty="0" err="1"/>
              <a:t>Daele</a:t>
            </a:r>
            <a:r>
              <a:rPr lang="fr-FR" sz="650" dirty="0"/>
              <a:t> - Denis Berthiaum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1033896" y="3372817"/>
            <a:ext cx="2877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 smtClean="0"/>
              <a:t>Vers</a:t>
            </a:r>
            <a:r>
              <a:rPr lang="en-US" sz="1200" dirty="0" smtClean="0"/>
              <a:t> </a:t>
            </a:r>
            <a:r>
              <a:rPr lang="en-US" sz="1200" dirty="0" err="1" smtClean="0"/>
              <a:t>quel</a:t>
            </a:r>
            <a:r>
              <a:rPr lang="en-US" sz="1200" dirty="0" smtClean="0"/>
              <a:t> </a:t>
            </a:r>
            <a:r>
              <a:rPr lang="en-US" sz="1200" b="1" dirty="0" err="1" smtClean="0">
                <a:solidFill>
                  <a:srgbClr val="2D7B9A"/>
                </a:solidFill>
              </a:rPr>
              <a:t>niveau</a:t>
            </a:r>
            <a:r>
              <a:rPr lang="en-US" sz="1200" dirty="0" smtClean="0"/>
              <a:t> les </a:t>
            </a:r>
            <a:r>
              <a:rPr lang="en-US" sz="1200" dirty="0" err="1" smtClean="0"/>
              <a:t>apprenants</a:t>
            </a:r>
            <a:r>
              <a:rPr lang="en-US" sz="1200" dirty="0" smtClean="0"/>
              <a:t> </a:t>
            </a:r>
            <a:r>
              <a:rPr lang="en-US" sz="1200" dirty="0" err="1" smtClean="0"/>
              <a:t>doivent-ils</a:t>
            </a:r>
            <a:r>
              <a:rPr lang="en-US" sz="1200" dirty="0" smtClean="0"/>
              <a:t> </a:t>
            </a:r>
            <a:r>
              <a:rPr lang="en-US" sz="1200" dirty="0" err="1" smtClean="0"/>
              <a:t>être</a:t>
            </a:r>
            <a:r>
              <a:rPr lang="en-US" sz="1200" dirty="0" smtClean="0"/>
              <a:t> </a:t>
            </a:r>
            <a:r>
              <a:rPr lang="en-US" sz="1200" dirty="0" err="1" smtClean="0"/>
              <a:t>amenés</a:t>
            </a:r>
            <a:r>
              <a:rPr lang="en-US" sz="1200" dirty="0" smtClean="0"/>
              <a:t> ? </a:t>
            </a:r>
          </a:p>
          <a:p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4186315" y="2106809"/>
            <a:ext cx="56722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400" dirty="0" smtClean="0"/>
          </a:p>
          <a:p>
            <a:r>
              <a:rPr lang="en-US" sz="1200" dirty="0" err="1" smtClean="0"/>
              <a:t>Dans</a:t>
            </a:r>
            <a:r>
              <a:rPr lang="en-US" sz="1200" dirty="0" smtClean="0"/>
              <a:t> </a:t>
            </a:r>
            <a:r>
              <a:rPr lang="en-US" sz="1200" dirty="0" err="1" smtClean="0"/>
              <a:t>quelle</a:t>
            </a:r>
            <a:r>
              <a:rPr lang="en-US" sz="1200" dirty="0" smtClean="0"/>
              <a:t> </a:t>
            </a:r>
            <a:r>
              <a:rPr lang="en-US" sz="1200" b="1" dirty="0" err="1">
                <a:solidFill>
                  <a:srgbClr val="2D7B9A"/>
                </a:solidFill>
              </a:rPr>
              <a:t>domaine</a:t>
            </a:r>
            <a:r>
              <a:rPr lang="en-US" sz="1200" dirty="0" smtClean="0"/>
              <a:t> </a:t>
            </a:r>
            <a:r>
              <a:rPr lang="en-US" sz="1200" dirty="0" err="1" smtClean="0"/>
              <a:t>devez</a:t>
            </a:r>
            <a:r>
              <a:rPr lang="en-US" sz="1200" dirty="0" smtClean="0"/>
              <a:t> </a:t>
            </a:r>
            <a:r>
              <a:rPr lang="en-US" sz="1200" dirty="0" err="1" smtClean="0"/>
              <a:t>vous</a:t>
            </a:r>
            <a:r>
              <a:rPr lang="en-US" sz="1200" dirty="0" smtClean="0"/>
              <a:t> </a:t>
            </a:r>
            <a:r>
              <a:rPr lang="en-US" sz="1200" dirty="0" err="1" smtClean="0"/>
              <a:t>développer</a:t>
            </a:r>
            <a:r>
              <a:rPr lang="en-US" sz="1200" dirty="0" smtClean="0"/>
              <a:t> les </a:t>
            </a:r>
            <a:r>
              <a:rPr lang="en-US" sz="1200" dirty="0" err="1" smtClean="0"/>
              <a:t>compétences</a:t>
            </a:r>
            <a:r>
              <a:rPr lang="en-US" sz="1200" dirty="0" smtClean="0"/>
              <a:t> des </a:t>
            </a:r>
            <a:r>
              <a:rPr lang="en-US" sz="1200" dirty="0" err="1" smtClean="0"/>
              <a:t>apprenants</a:t>
            </a:r>
            <a:r>
              <a:rPr lang="en-US" sz="1200" dirty="0" smtClean="0"/>
              <a:t>?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41" b="24060"/>
          <a:stretch/>
        </p:blipFill>
        <p:spPr>
          <a:xfrm>
            <a:off x="4343223" y="3326599"/>
            <a:ext cx="286871" cy="30647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0343" y="3311302"/>
            <a:ext cx="285328" cy="40357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440" b="31647"/>
          <a:stretch/>
        </p:blipFill>
        <p:spPr>
          <a:xfrm>
            <a:off x="5962470" y="3357220"/>
            <a:ext cx="286582" cy="275854"/>
          </a:xfrm>
          <a:prstGeom prst="rect">
            <a:avLst/>
          </a:prstGeom>
        </p:spPr>
      </p:pic>
      <p:sp>
        <p:nvSpPr>
          <p:cNvPr id="27" name="Rounded Rectangle 26"/>
          <p:cNvSpPr/>
          <p:nvPr/>
        </p:nvSpPr>
        <p:spPr>
          <a:xfrm>
            <a:off x="4146074" y="2529794"/>
            <a:ext cx="4850888" cy="646035"/>
          </a:xfrm>
          <a:prstGeom prst="roundRect">
            <a:avLst/>
          </a:prstGeom>
          <a:solidFill>
            <a:srgbClr val="929293"/>
          </a:solidFill>
          <a:ln>
            <a:solidFill>
              <a:srgbClr val="929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Domaine de </a:t>
            </a:r>
            <a:r>
              <a:rPr lang="en-US" sz="1600" dirty="0" err="1" smtClean="0">
                <a:solidFill>
                  <a:schemeClr val="bg1"/>
                </a:solidFill>
              </a:rPr>
              <a:t>compétence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052358" y="3862517"/>
            <a:ext cx="1662267" cy="2031187"/>
          </a:xfrm>
          <a:prstGeom prst="roundRect">
            <a:avLst/>
          </a:prstGeom>
          <a:solidFill>
            <a:srgbClr val="929293"/>
          </a:solidFill>
          <a:ln>
            <a:solidFill>
              <a:srgbClr val="9292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 err="1" smtClean="0">
                <a:solidFill>
                  <a:schemeClr val="bg1"/>
                </a:solidFill>
              </a:rPr>
              <a:t>Niveau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d’apprentissage</a:t>
            </a:r>
            <a:endParaRPr lang="fr-FR" sz="1600" dirty="0">
              <a:solidFill>
                <a:schemeClr val="bg1"/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297" y="4622045"/>
            <a:ext cx="816387" cy="1154719"/>
          </a:xfrm>
          <a:prstGeom prst="rect">
            <a:avLst/>
          </a:prstGeom>
        </p:spPr>
      </p:pic>
      <p:sp>
        <p:nvSpPr>
          <p:cNvPr id="43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3/12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410027" y="1436745"/>
            <a:ext cx="93995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/>
            <a:r>
              <a:rPr lang="fr-FR" dirty="0"/>
              <a:t>Avant de rédiger un objectif d’apprentissage, il est important de </a:t>
            </a:r>
            <a:r>
              <a:rPr lang="fr-FR" b="1" dirty="0"/>
              <a:t>déterminer</a:t>
            </a:r>
            <a:r>
              <a:rPr lang="fr-FR" dirty="0"/>
              <a:t> </a:t>
            </a:r>
            <a:r>
              <a:rPr lang="fr-FR" dirty="0" smtClean="0"/>
              <a:t>les </a:t>
            </a:r>
            <a:r>
              <a:rPr lang="fr-FR" b="1" dirty="0" smtClean="0"/>
              <a:t>domaines </a:t>
            </a:r>
            <a:r>
              <a:rPr lang="fr-FR" b="1" dirty="0"/>
              <a:t>de compétence </a:t>
            </a:r>
            <a:r>
              <a:rPr lang="fr-FR" dirty="0" smtClean="0"/>
              <a:t>ainsi que les </a:t>
            </a:r>
            <a:r>
              <a:rPr lang="fr-FR" b="1" dirty="0" smtClean="0"/>
              <a:t>niveaux d’apprentissage </a:t>
            </a:r>
            <a:r>
              <a:rPr lang="fr-FR" dirty="0" smtClean="0"/>
              <a:t>visés par votre formation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566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84300" y="1544320"/>
            <a:ext cx="8698722" cy="3727251"/>
          </a:xfrm>
        </p:spPr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dirty="0" smtClean="0"/>
              <a:t>Une fois les domaines de compétences et les niveaux d’apprentissage déterminés, vous pouvez procéder à la formulation des objectifs d’apprentissage. En effet, il existe une taxonomie pour chaque domaine de compétence visé:</a:t>
            </a: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endParaRPr lang="fr-FR" sz="1800" b="1" dirty="0" smtClean="0">
              <a:solidFill>
                <a:srgbClr val="FF9700"/>
              </a:solidFill>
              <a:ea typeface="+mj-ea"/>
              <a:cs typeface="+mj-cs"/>
            </a:endParaRPr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fr-FR" sz="1800" b="1" dirty="0" smtClean="0">
                <a:solidFill>
                  <a:srgbClr val="FF9700"/>
                </a:solidFill>
                <a:ea typeface="+mj-ea"/>
                <a:cs typeface="+mj-cs"/>
              </a:rPr>
              <a:t>Taxonomie </a:t>
            </a:r>
            <a:r>
              <a:rPr lang="fr-FR" sz="1800" b="1" dirty="0">
                <a:solidFill>
                  <a:srgbClr val="FF9700"/>
                </a:solidFill>
                <a:ea typeface="+mj-ea"/>
                <a:cs typeface="+mj-cs"/>
              </a:rPr>
              <a:t>du domaine cognitif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800" dirty="0" smtClean="0"/>
              <a:t>	Cette taxonomie illustre les différents niveaux d’apprentissage du domaine 	</a:t>
            </a:r>
            <a:r>
              <a:rPr lang="fr-FR" sz="1800" b="1" dirty="0" smtClean="0"/>
              <a:t>cognitif, </a:t>
            </a:r>
            <a:r>
              <a:rPr lang="fr-FR" sz="1800" dirty="0" smtClean="0"/>
              <a:t>c’est-à-dire du </a:t>
            </a:r>
            <a:r>
              <a:rPr lang="fr-FR" sz="1800" b="1" dirty="0" smtClean="0"/>
              <a:t>savoir</a:t>
            </a:r>
            <a:r>
              <a:rPr lang="fr-FR" sz="1800" dirty="0" smtClean="0"/>
              <a:t> et des </a:t>
            </a:r>
            <a:r>
              <a:rPr lang="fr-FR" sz="1800" b="1" dirty="0" smtClean="0"/>
              <a:t>processus mentaux.</a:t>
            </a:r>
            <a:endParaRPr lang="fr-FR" sz="1800" dirty="0" smtClean="0"/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fr-FR" sz="1800" b="1" dirty="0">
              <a:solidFill>
                <a:srgbClr val="E4077E"/>
              </a:solidFill>
              <a:ea typeface="+mj-ea"/>
              <a:cs typeface="+mj-cs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800" b="1" dirty="0" smtClean="0">
                <a:solidFill>
                  <a:srgbClr val="E4077E"/>
                </a:solidFill>
                <a:ea typeface="+mj-ea"/>
                <a:cs typeface="+mj-cs"/>
              </a:rPr>
              <a:t>Taxonomie </a:t>
            </a:r>
            <a:r>
              <a:rPr lang="fr-FR" sz="1800" b="1" dirty="0">
                <a:solidFill>
                  <a:srgbClr val="E4077E"/>
                </a:solidFill>
                <a:ea typeface="+mj-ea"/>
                <a:cs typeface="+mj-cs"/>
              </a:rPr>
              <a:t>du domaine affectif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fr-FR" sz="1800" dirty="0" smtClean="0"/>
              <a:t>	Cette taxonomie illustre le domaine du </a:t>
            </a:r>
            <a:r>
              <a:rPr lang="fr-FR" sz="1800" b="1" dirty="0" smtClean="0"/>
              <a:t>savoir-être</a:t>
            </a:r>
            <a:r>
              <a:rPr lang="fr-FR" sz="1800" dirty="0" smtClean="0"/>
              <a:t>, </a:t>
            </a:r>
            <a:r>
              <a:rPr lang="fr-FR" sz="1800" dirty="0"/>
              <a:t>c’est-à-dire des </a:t>
            </a:r>
            <a:r>
              <a:rPr lang="fr-FR" sz="1800" b="1" dirty="0" smtClean="0"/>
              <a:t>attitudes</a:t>
            </a:r>
            <a:r>
              <a:rPr lang="fr-FR" sz="1800" dirty="0" smtClean="0"/>
              <a:t> et 	</a:t>
            </a:r>
            <a:r>
              <a:rPr lang="fr-FR" sz="1800" b="1" dirty="0" smtClean="0"/>
              <a:t>habiletés</a:t>
            </a:r>
            <a:r>
              <a:rPr lang="fr-FR" sz="1800" dirty="0" smtClean="0"/>
              <a:t> </a:t>
            </a:r>
            <a:r>
              <a:rPr lang="fr-FR" sz="1800" b="1" dirty="0" smtClean="0"/>
              <a:t>sociales</a:t>
            </a:r>
            <a:r>
              <a:rPr lang="fr-FR" sz="1800" dirty="0" smtClean="0"/>
              <a:t> et de </a:t>
            </a:r>
            <a:r>
              <a:rPr lang="fr-FR" sz="1800" b="1" dirty="0" smtClean="0"/>
              <a:t>l’intelligence</a:t>
            </a:r>
            <a:r>
              <a:rPr lang="fr-FR" sz="1800" dirty="0" smtClean="0"/>
              <a:t> </a:t>
            </a:r>
            <a:r>
              <a:rPr lang="fr-FR" sz="1800" b="1" dirty="0" smtClean="0"/>
              <a:t>émotionnelle</a:t>
            </a:r>
            <a:r>
              <a:rPr lang="fr-FR" sz="1800" dirty="0" smtClean="0"/>
              <a:t>.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fr-FR" sz="1800" b="1" dirty="0">
                <a:solidFill>
                  <a:srgbClr val="2D7B9A"/>
                </a:solidFill>
                <a:ea typeface="+mj-ea"/>
                <a:cs typeface="+mj-cs"/>
              </a:rPr>
              <a:t>Taxonomie du domaine psychomoteur 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fr-FR" sz="1800" dirty="0" smtClean="0"/>
              <a:t>	Cette taxonomie illustre le domaine du </a:t>
            </a:r>
            <a:r>
              <a:rPr lang="fr-FR" sz="1800" b="1" dirty="0" smtClean="0"/>
              <a:t>savoir-faire</a:t>
            </a:r>
            <a:r>
              <a:rPr lang="fr-FR" sz="1800" dirty="0" smtClean="0"/>
              <a:t>, </a:t>
            </a:r>
            <a:r>
              <a:rPr lang="fr-FR" sz="1800" dirty="0"/>
              <a:t>c’est-à-dire de </a:t>
            </a:r>
            <a:r>
              <a:rPr lang="fr-FR" sz="1800" dirty="0" smtClean="0"/>
              <a:t>la </a:t>
            </a:r>
            <a:r>
              <a:rPr lang="fr-FR" sz="1800" b="1" dirty="0" smtClean="0"/>
              <a:t>dextérité</a:t>
            </a:r>
            <a:r>
              <a:rPr lang="fr-FR" sz="1800" dirty="0" smtClean="0"/>
              <a:t> et 	des </a:t>
            </a:r>
            <a:r>
              <a:rPr lang="fr-FR" sz="1800" b="1" dirty="0" smtClean="0"/>
              <a:t>habiletés</a:t>
            </a:r>
            <a:r>
              <a:rPr lang="fr-FR" sz="1800" dirty="0" smtClean="0"/>
              <a:t> </a:t>
            </a:r>
            <a:r>
              <a:rPr lang="fr-FR" sz="1800" b="1" dirty="0" smtClean="0"/>
              <a:t>manuelles</a:t>
            </a:r>
            <a:r>
              <a:rPr lang="fr-FR" sz="1800" dirty="0" smtClean="0"/>
              <a:t>.</a:t>
            </a:r>
          </a:p>
          <a:p>
            <a:pPr marL="0" indent="0" algn="just">
              <a:buNone/>
            </a:pPr>
            <a:endParaRPr lang="fr-FR" sz="1800" dirty="0" smtClean="0"/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endParaRPr lang="fr-FR" sz="1800" dirty="0" smtClean="0"/>
          </a:p>
          <a:p>
            <a:pPr marL="0" indent="0" algn="just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endParaRPr lang="fr-FR" sz="1800" dirty="0" smtClean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4300" y="75085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925" b="1" dirty="0">
                <a:solidFill>
                  <a:schemeClr val="tx1"/>
                </a:solidFill>
              </a:rPr>
              <a:t>2</a:t>
            </a:r>
            <a:r>
              <a:rPr lang="fr-FR" sz="2925" b="1" dirty="0" smtClean="0">
                <a:solidFill>
                  <a:schemeClr val="tx1"/>
                </a:solidFill>
              </a:rPr>
              <a:t>. Formuler les objectifs d’apprentissage</a:t>
            </a:r>
            <a:endParaRPr lang="fr-FR" sz="2925" b="1" dirty="0">
              <a:solidFill>
                <a:schemeClr val="tx1"/>
              </a:solidFill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4/12</a:t>
            </a:r>
            <a:endParaRPr lang="fr-FR" dirty="0"/>
          </a:p>
        </p:txBody>
      </p:sp>
      <p:sp>
        <p:nvSpPr>
          <p:cNvPr id="7" name="TextBox 6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8053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F9605F8-9C51-4B62-99F1-EAB1E34529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8746" y="1445926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FF9700"/>
                </a:solidFill>
              </a:rPr>
              <a:t>MEMORISER</a:t>
            </a:r>
            <a:endParaRPr lang="fr-FR" sz="1463" b="1" dirty="0">
              <a:solidFill>
                <a:srgbClr val="FF9700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1642FF9-F08B-42A8-965B-F14BC898A2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69329" y="1445926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FF9700"/>
                </a:solidFill>
              </a:rPr>
              <a:t>EVALUER</a:t>
            </a:r>
            <a:endParaRPr lang="fr-FR" sz="1463" b="1" dirty="0">
              <a:solidFill>
                <a:srgbClr val="FF9700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9EAA7AC-79DE-4022-8F20-5FA359DD92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66782" y="1445926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FF9700"/>
                </a:solidFill>
              </a:rPr>
              <a:t>COMPRENDRE</a:t>
            </a:r>
            <a:endParaRPr lang="fr-FR" sz="1463" b="1" dirty="0">
              <a:solidFill>
                <a:srgbClr val="FF9700"/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2E88D8B-200C-4A6C-83C0-C3FF5152F0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62854" y="1445926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FF9700"/>
                </a:solidFill>
              </a:rPr>
              <a:t>ANALYSER </a:t>
            </a:r>
            <a:endParaRPr lang="fr-FR" sz="1463" b="1" dirty="0">
              <a:solidFill>
                <a:srgbClr val="FF9700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3C8F40B-B19A-4A6F-864A-1362A1A145A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14818" y="1445926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FF9700"/>
                </a:solidFill>
              </a:rPr>
              <a:t>APPLIQUER</a:t>
            </a:r>
            <a:r>
              <a:rPr lang="fr-FR" sz="1463" b="1" dirty="0" smtClean="0"/>
              <a:t> </a:t>
            </a:r>
            <a:endParaRPr lang="fr-FR" sz="1463" b="1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2F3CF92-DE23-441B-87E4-0C8506979B9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17365" y="1445926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FF9700"/>
                </a:solidFill>
              </a:rPr>
              <a:t>CREER</a:t>
            </a:r>
            <a:endParaRPr lang="fr-FR" sz="1463" b="1" dirty="0">
              <a:solidFill>
                <a:srgbClr val="FF9700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7076638-C4B9-49A9-B27A-2F09C1A10D2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64633" y="2872020"/>
            <a:ext cx="1398183" cy="2115236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fr-FR" sz="1100" b="1" i="1" dirty="0" smtClean="0">
                <a:solidFill>
                  <a:srgbClr val="FF9700"/>
                </a:solidFill>
              </a:rPr>
              <a:t>Extraire</a:t>
            </a:r>
            <a:r>
              <a:rPr lang="fr-FR" sz="1100" i="1" dirty="0" smtClean="0"/>
              <a:t> les </a:t>
            </a:r>
            <a:r>
              <a:rPr lang="fr-FR" sz="1100" b="1" i="1" dirty="0">
                <a:solidFill>
                  <a:srgbClr val="FF9700"/>
                </a:solidFill>
              </a:rPr>
              <a:t>connaissances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significatives</a:t>
            </a:r>
            <a:r>
              <a:rPr lang="fr-FR" sz="1100" i="1" dirty="0" smtClean="0"/>
              <a:t> issues de sa mémoire à long- terme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Reconnaître, identifier, définir, exprimer, lister, </a:t>
            </a:r>
          </a:p>
          <a:p>
            <a:pPr marL="0" indent="0">
              <a:buNone/>
            </a:pPr>
            <a:r>
              <a:rPr lang="fr-FR" dirty="0" smtClean="0"/>
              <a:t>se rappeler,  citer, énumérer, répéter, etc.</a:t>
            </a:r>
            <a:endParaRPr lang="fr-FR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0E1C11D1-A02C-4C9F-9D89-EB25A782050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05550" y="2872020"/>
            <a:ext cx="1398183" cy="2383830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fr-FR" sz="1100" b="1" i="1" dirty="0">
                <a:solidFill>
                  <a:srgbClr val="FF9700"/>
                </a:solidFill>
              </a:rPr>
              <a:t>Porter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un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jugement</a:t>
            </a:r>
            <a:r>
              <a:rPr lang="fr-FR" sz="1100" i="1" dirty="0" smtClean="0"/>
              <a:t> sur la base de critères et de normes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Vérifier, coordonner, estimer, remettre en question, commenter, juger argumenter, defender, soutenir, etc.</a:t>
            </a:r>
            <a:endParaRPr lang="fr-FR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E8F1FDB-F83F-4D8B-A84F-7A922F51F06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029129" y="2872020"/>
            <a:ext cx="1398183" cy="2157427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fr-FR" sz="1100" b="1" i="1" dirty="0">
                <a:solidFill>
                  <a:srgbClr val="FF9700"/>
                </a:solidFill>
              </a:rPr>
              <a:t>Construire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du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sens</a:t>
            </a:r>
            <a:r>
              <a:rPr lang="fr-FR" sz="1100" i="1" dirty="0" smtClean="0"/>
              <a:t> à partir d’informations reçues (orales, écrites et graphiques)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Interpréter, transposer en exemple, classer/classifier, résumer, inférer/réduire, comparer, expliquer, etc.</a:t>
            </a:r>
            <a:endParaRPr lang="fr-FR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7A723BB-BFA9-483B-8E33-89219A57CBD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44468" y="2872020"/>
            <a:ext cx="1398183" cy="2157426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fr-FR" sz="1100" b="1" i="1" dirty="0">
                <a:solidFill>
                  <a:srgbClr val="FF9700"/>
                </a:solidFill>
              </a:rPr>
              <a:t>Décomposer</a:t>
            </a:r>
            <a:r>
              <a:rPr lang="fr-FR" sz="1100" i="1" dirty="0" smtClean="0"/>
              <a:t> les </a:t>
            </a:r>
            <a:r>
              <a:rPr lang="fr-FR" sz="1100" b="1" i="1" dirty="0">
                <a:solidFill>
                  <a:srgbClr val="FF9700"/>
                </a:solidFill>
              </a:rPr>
              <a:t>parties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constitutives</a:t>
            </a:r>
            <a:r>
              <a:rPr lang="fr-FR" sz="1100" i="1" dirty="0" smtClean="0"/>
              <a:t> d’un tout et </a:t>
            </a:r>
            <a:r>
              <a:rPr lang="fr-FR" sz="1100" b="1" i="1" dirty="0">
                <a:solidFill>
                  <a:srgbClr val="FF9700"/>
                </a:solidFill>
              </a:rPr>
              <a:t>déterminer</a:t>
            </a:r>
            <a:r>
              <a:rPr lang="fr-FR" sz="1100" i="1" dirty="0" smtClean="0"/>
              <a:t> les </a:t>
            </a:r>
            <a:r>
              <a:rPr lang="fr-FR" sz="1100" b="1" i="1" dirty="0">
                <a:solidFill>
                  <a:srgbClr val="FF9700"/>
                </a:solidFill>
              </a:rPr>
              <a:t>liens</a:t>
            </a:r>
            <a:r>
              <a:rPr lang="fr-FR" sz="1100" i="1" dirty="0" smtClean="0"/>
              <a:t> qui unissent ces parties entres elles et à une structure ou une finalité d’ensemble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Différentier, examiner, sélectionner, organiser, choisir, mettre en relation, attribuer, faire ressortir, séparer, etc.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30295FE-4061-46B5-AF50-DFC87990D4C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93625" y="2872020"/>
            <a:ext cx="1398183" cy="2279314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fr-FR" sz="1100" b="1" i="1" dirty="0">
                <a:solidFill>
                  <a:srgbClr val="FF9700"/>
                </a:solidFill>
              </a:rPr>
              <a:t>Exécuter</a:t>
            </a:r>
            <a:r>
              <a:rPr lang="fr-FR" sz="1100" i="1" dirty="0" smtClean="0"/>
              <a:t> ou </a:t>
            </a:r>
            <a:r>
              <a:rPr lang="fr-FR" sz="1100" b="1" i="1" dirty="0">
                <a:solidFill>
                  <a:srgbClr val="FF9700"/>
                </a:solidFill>
              </a:rPr>
              <a:t>utiliser</a:t>
            </a:r>
            <a:r>
              <a:rPr lang="fr-FR" sz="1100" i="1" dirty="0" smtClean="0"/>
              <a:t> une </a:t>
            </a:r>
            <a:r>
              <a:rPr lang="fr-FR" sz="1100" b="1" i="1" dirty="0">
                <a:solidFill>
                  <a:srgbClr val="FF9700"/>
                </a:solidFill>
              </a:rPr>
              <a:t>procédure</a:t>
            </a:r>
            <a:r>
              <a:rPr lang="fr-FR" sz="1100" i="1" dirty="0" smtClean="0"/>
              <a:t> dans une situation donnée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Exécuter, calculer, formuler, mettre en pratique, implémenter, appliquer, manipuler, etc.</a:t>
            </a:r>
            <a:endParaRPr lang="fr-FR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2E8556E3-EF15-46F2-8F81-AD307E1DD1F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965890" y="2872020"/>
            <a:ext cx="1398183" cy="2115236"/>
          </a:xfrm>
        </p:spPr>
        <p:txBody>
          <a:bodyPr/>
          <a:lstStyle/>
          <a:p>
            <a:pPr marL="0" lvl="0" indent="0">
              <a:buNone/>
              <a:defRPr/>
            </a:pPr>
            <a:r>
              <a:rPr lang="fr-FR" sz="1100" b="1" i="1" dirty="0">
                <a:solidFill>
                  <a:srgbClr val="FF9700"/>
                </a:solidFill>
              </a:rPr>
              <a:t>Assembler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des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éléments</a:t>
            </a:r>
            <a:r>
              <a:rPr lang="fr-FR" sz="1100" i="1" dirty="0" smtClean="0"/>
              <a:t> pour </a:t>
            </a:r>
            <a:r>
              <a:rPr lang="fr-FR" sz="1100" b="1" i="1" dirty="0">
                <a:solidFill>
                  <a:srgbClr val="FF9700"/>
                </a:solidFill>
              </a:rPr>
              <a:t>former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un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ensemble</a:t>
            </a:r>
            <a:r>
              <a:rPr lang="fr-FR" sz="1100" i="1" dirty="0" smtClean="0"/>
              <a:t> </a:t>
            </a:r>
            <a:r>
              <a:rPr lang="fr-FR" sz="1100" b="1" i="1" dirty="0">
                <a:solidFill>
                  <a:srgbClr val="FF9700"/>
                </a:solidFill>
              </a:rPr>
              <a:t>nouveau</a:t>
            </a:r>
            <a:r>
              <a:rPr lang="fr-FR" sz="1100" i="1" dirty="0" smtClean="0"/>
              <a:t> et cohérent, ou faire une production originale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Générer, combiner, conceptualiser, rédiger,  planifier, arranger, concevoir, structurer,  produire, construire, développer, mettre en place, etc. </a:t>
            </a:r>
            <a:endParaRPr lang="fr-FR" dirty="0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6" name="Isosceles Triangle 5"/>
          <p:cNvSpPr/>
          <p:nvPr/>
        </p:nvSpPr>
        <p:spPr>
          <a:xfrm rot="16200000">
            <a:off x="4856892" y="-1974623"/>
            <a:ext cx="505863" cy="8763026"/>
          </a:xfrm>
          <a:prstGeom prst="triangle">
            <a:avLst>
              <a:gd name="adj" fmla="val 0"/>
            </a:avLst>
          </a:prstGeom>
          <a:solidFill>
            <a:srgbClr val="FFEB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Flowchart: Connector 30"/>
          <p:cNvSpPr/>
          <p:nvPr/>
        </p:nvSpPr>
        <p:spPr>
          <a:xfrm>
            <a:off x="2425505" y="2151171"/>
            <a:ext cx="634154" cy="606145"/>
          </a:xfrm>
          <a:prstGeom prst="flowChartConnector">
            <a:avLst/>
          </a:prstGeom>
          <a:solidFill>
            <a:srgbClr val="FF9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Flowchart: Connector 34"/>
          <p:cNvSpPr/>
          <p:nvPr/>
        </p:nvSpPr>
        <p:spPr>
          <a:xfrm>
            <a:off x="946647" y="2151171"/>
            <a:ext cx="634154" cy="606145"/>
          </a:xfrm>
          <a:prstGeom prst="flowChartConnector">
            <a:avLst/>
          </a:prstGeom>
          <a:solidFill>
            <a:srgbClr val="FF9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Flowchart: Connector 35"/>
          <p:cNvSpPr/>
          <p:nvPr/>
        </p:nvSpPr>
        <p:spPr>
          <a:xfrm>
            <a:off x="6862079" y="2151171"/>
            <a:ext cx="634154" cy="606145"/>
          </a:xfrm>
          <a:prstGeom prst="flowChartConnector">
            <a:avLst/>
          </a:prstGeom>
          <a:solidFill>
            <a:srgbClr val="FF9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Flowchart: Connector 36"/>
          <p:cNvSpPr/>
          <p:nvPr/>
        </p:nvSpPr>
        <p:spPr>
          <a:xfrm>
            <a:off x="3904363" y="2151171"/>
            <a:ext cx="634154" cy="606145"/>
          </a:xfrm>
          <a:prstGeom prst="flowChartConnector">
            <a:avLst/>
          </a:prstGeom>
          <a:solidFill>
            <a:srgbClr val="FF9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Flowchart: Connector 37"/>
          <p:cNvSpPr/>
          <p:nvPr/>
        </p:nvSpPr>
        <p:spPr>
          <a:xfrm>
            <a:off x="5383221" y="2151171"/>
            <a:ext cx="634154" cy="606145"/>
          </a:xfrm>
          <a:prstGeom prst="flowChartConnector">
            <a:avLst/>
          </a:prstGeom>
          <a:solidFill>
            <a:srgbClr val="FF9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Flowchart: Connector 38"/>
          <p:cNvSpPr/>
          <p:nvPr/>
        </p:nvSpPr>
        <p:spPr>
          <a:xfrm>
            <a:off x="8340939" y="2151171"/>
            <a:ext cx="634154" cy="606145"/>
          </a:xfrm>
          <a:prstGeom prst="flowChartConnector">
            <a:avLst/>
          </a:prstGeom>
          <a:solidFill>
            <a:srgbClr val="FF9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extBox 8"/>
          <p:cNvSpPr txBox="1"/>
          <p:nvPr/>
        </p:nvSpPr>
        <p:spPr>
          <a:xfrm>
            <a:off x="430403" y="2585459"/>
            <a:ext cx="1108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rgbClr val="FF9700"/>
                </a:solidFill>
              </a:rPr>
              <a:t>simple</a:t>
            </a:r>
            <a:endParaRPr lang="fr-FR" sz="1000" i="1" dirty="0">
              <a:solidFill>
                <a:srgbClr val="FF970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098140" y="1954176"/>
            <a:ext cx="1108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>
                <a:solidFill>
                  <a:srgbClr val="FF9700"/>
                </a:solidFill>
              </a:rPr>
              <a:t>complexe</a:t>
            </a:r>
            <a:endParaRPr lang="fr-FR" sz="1000" i="1" dirty="0">
              <a:solidFill>
                <a:srgbClr val="FF9700"/>
              </a:solidFill>
            </a:endParaRPr>
          </a:p>
        </p:txBody>
      </p:sp>
      <p:sp>
        <p:nvSpPr>
          <p:cNvPr id="42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5/12</a:t>
            </a:r>
            <a:endParaRPr lang="fr-FR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600" b="1" dirty="0" smtClean="0">
                <a:solidFill>
                  <a:srgbClr val="FF9700"/>
                </a:solidFill>
              </a:rPr>
              <a:t>Taxonomie du domaine cognitif (Bloom/</a:t>
            </a:r>
            <a:r>
              <a:rPr lang="fr-FR" sz="2600" b="1" dirty="0" err="1" smtClean="0">
                <a:solidFill>
                  <a:srgbClr val="FF9700"/>
                </a:solidFill>
              </a:rPr>
              <a:t>Krathwohl</a:t>
            </a:r>
            <a:r>
              <a:rPr lang="fr-FR" sz="2600" b="1" dirty="0" smtClean="0">
                <a:solidFill>
                  <a:srgbClr val="FF9700"/>
                </a:solidFill>
              </a:rPr>
              <a:t>)</a:t>
            </a:r>
            <a:endParaRPr lang="fr-FR" sz="2600" b="1" dirty="0">
              <a:solidFill>
                <a:srgbClr val="FF9700"/>
              </a:solidFill>
            </a:endParaRP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" y="792000"/>
            <a:ext cx="402878" cy="569843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1078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2649083" y="5692343"/>
            <a:ext cx="6472282" cy="572210"/>
            <a:chOff x="2255730" y="4577605"/>
            <a:chExt cx="7119570" cy="704880"/>
          </a:xfrm>
          <a:solidFill>
            <a:srgbClr val="FFEBBD"/>
          </a:solidFill>
        </p:grpSpPr>
        <p:sp>
          <p:nvSpPr>
            <p:cNvPr id="23" name="Pentagon 22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Pentagon 4"/>
            <p:cNvSpPr txBox="1"/>
            <p:nvPr/>
          </p:nvSpPr>
          <p:spPr>
            <a:xfrm>
              <a:off x="2431949" y="4577609"/>
              <a:ext cx="6943351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de </a:t>
              </a:r>
              <a:r>
                <a:rPr lang="fr-FR" sz="1300" b="1" dirty="0" smtClean="0">
                  <a:solidFill>
                    <a:srgbClr val="FF9700"/>
                  </a:solidFill>
                </a:rPr>
                <a:t>citer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les dispositions d’un texte légal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649307" y="4364443"/>
            <a:ext cx="6472282" cy="572206"/>
            <a:chOff x="2255730" y="4577605"/>
            <a:chExt cx="7119569" cy="704876"/>
          </a:xfrm>
          <a:solidFill>
            <a:srgbClr val="FFEBBD"/>
          </a:solidFill>
        </p:grpSpPr>
        <p:sp>
          <p:nvSpPr>
            <p:cNvPr id="26" name="Pentagon 25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Pentagon 4"/>
            <p:cNvSpPr txBox="1"/>
            <p:nvPr/>
          </p:nvSpPr>
          <p:spPr>
            <a:xfrm rot="21600000">
              <a:off x="2431949" y="4577605"/>
              <a:ext cx="6943350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</a:t>
              </a:r>
              <a:r>
                <a:rPr lang="fr-FR" sz="1300" b="1" dirty="0">
                  <a:solidFill>
                    <a:srgbClr val="FF9700"/>
                  </a:solidFill>
                </a:rPr>
                <a:t>d’appliquer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 les dispositions ou les procédures d’un texte légal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2649307" y="3692676"/>
            <a:ext cx="6472282" cy="572206"/>
            <a:chOff x="2255730" y="4577605"/>
            <a:chExt cx="7119569" cy="704876"/>
          </a:xfrm>
          <a:solidFill>
            <a:srgbClr val="FFEBBD"/>
          </a:solidFill>
        </p:grpSpPr>
        <p:sp>
          <p:nvSpPr>
            <p:cNvPr id="29" name="Pentagon 28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Pentagon 4"/>
            <p:cNvSpPr txBox="1"/>
            <p:nvPr/>
          </p:nvSpPr>
          <p:spPr>
            <a:xfrm rot="21600000">
              <a:off x="2431949" y="4577605"/>
              <a:ext cx="6943350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de </a:t>
              </a:r>
              <a:r>
                <a:rPr lang="fr-FR" sz="1300" b="1" dirty="0">
                  <a:solidFill>
                    <a:srgbClr val="FF9700"/>
                  </a:solidFill>
                </a:rPr>
                <a:t>comparer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 différents textes légaux pour identifier des incohérence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641667" y="3047467"/>
            <a:ext cx="6472282" cy="572206"/>
            <a:chOff x="2255730" y="4577605"/>
            <a:chExt cx="7119569" cy="704876"/>
          </a:xfrm>
          <a:solidFill>
            <a:srgbClr val="FFEBBD"/>
          </a:solidFill>
        </p:grpSpPr>
        <p:sp>
          <p:nvSpPr>
            <p:cNvPr id="32" name="Pentagon 31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Pentagon 4"/>
            <p:cNvSpPr txBox="1"/>
            <p:nvPr/>
          </p:nvSpPr>
          <p:spPr>
            <a:xfrm rot="21600000">
              <a:off x="2431949" y="4577605"/>
              <a:ext cx="6943350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d’</a:t>
              </a:r>
              <a:r>
                <a:rPr lang="fr-FR" sz="1300" b="1" dirty="0">
                  <a:solidFill>
                    <a:srgbClr val="FF9700"/>
                  </a:solidFill>
                </a:rPr>
                <a:t>évaluer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 la pertinence d’un texte légal pour régler une situation spécifique et d’en tirer des conclusions pour réviser la base légale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649307" y="2407756"/>
            <a:ext cx="6472282" cy="572206"/>
            <a:chOff x="2255730" y="4577605"/>
            <a:chExt cx="7119569" cy="704876"/>
          </a:xfrm>
          <a:solidFill>
            <a:srgbClr val="FFEBBD"/>
          </a:solidFill>
        </p:grpSpPr>
        <p:sp>
          <p:nvSpPr>
            <p:cNvPr id="35" name="Pentagon 34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Pentagon 4"/>
            <p:cNvSpPr txBox="1"/>
            <p:nvPr/>
          </p:nvSpPr>
          <p:spPr>
            <a:xfrm rot="21600000">
              <a:off x="2431949" y="4577605"/>
              <a:ext cx="6943350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Être capable de </a:t>
              </a:r>
              <a:r>
                <a:rPr lang="fr-FR" sz="1300" b="1" dirty="0">
                  <a:solidFill>
                    <a:srgbClr val="FF9700"/>
                  </a:solidFill>
                </a:rPr>
                <a:t>rédiger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 un nouveau texte légal</a:t>
              </a:r>
              <a:endParaRPr lang="fr-FR" sz="13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645509" y="5027651"/>
            <a:ext cx="6472282" cy="572207"/>
            <a:chOff x="2255730" y="4577604"/>
            <a:chExt cx="7119569" cy="704877"/>
          </a:xfrm>
          <a:solidFill>
            <a:srgbClr val="FFEBBD"/>
          </a:solidFill>
        </p:grpSpPr>
        <p:sp>
          <p:nvSpPr>
            <p:cNvPr id="7" name="Pentagon 6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Pentagon 4"/>
            <p:cNvSpPr txBox="1"/>
            <p:nvPr/>
          </p:nvSpPr>
          <p:spPr>
            <a:xfrm>
              <a:off x="2431948" y="4577604"/>
              <a:ext cx="6943351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de </a:t>
              </a:r>
              <a:r>
                <a:rPr lang="fr-FR" sz="1300" b="1" dirty="0" smtClean="0">
                  <a:solidFill>
                    <a:srgbClr val="FF9700"/>
                  </a:solidFill>
                </a:rPr>
                <a:t>dire </a:t>
              </a:r>
              <a:r>
                <a:rPr lang="fr-FR" sz="1300" b="1" dirty="0">
                  <a:solidFill>
                    <a:srgbClr val="FF9700"/>
                  </a:solidFill>
                </a:rPr>
                <a:t>dans ses mots 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les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dispositions ou les procédures d’un texte légal</a:t>
              </a: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38146" y="5746861"/>
            <a:ext cx="2010937" cy="463176"/>
          </a:xfrm>
          <a:prstGeom prst="roundRect">
            <a:avLst/>
          </a:prstGeom>
          <a:solidFill>
            <a:srgbClr val="FF97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indent="0">
              <a:buNone/>
            </a:pPr>
            <a:r>
              <a:rPr lang="fr-FR" sz="1950" b="1" dirty="0">
                <a:solidFill>
                  <a:schemeClr val="bg1"/>
                </a:solidFill>
              </a:rPr>
              <a:t> 1 - Connaître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638145" y="5079373"/>
            <a:ext cx="2010938" cy="463176"/>
          </a:xfrm>
          <a:prstGeom prst="roundRect">
            <a:avLst/>
          </a:prstGeom>
          <a:solidFill>
            <a:srgbClr val="FF97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2 - Comprendre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638145" y="4411884"/>
            <a:ext cx="2010938" cy="463176"/>
          </a:xfrm>
          <a:prstGeom prst="roundRect">
            <a:avLst/>
          </a:prstGeom>
          <a:solidFill>
            <a:srgbClr val="FF97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3 - Appliquer</a:t>
            </a:r>
          </a:p>
        </p:txBody>
      </p:sp>
      <p:sp>
        <p:nvSpPr>
          <p:cNvPr id="15" name="Text Placeholder 4"/>
          <p:cNvSpPr txBox="1">
            <a:spLocks/>
          </p:cNvSpPr>
          <p:nvPr/>
        </p:nvSpPr>
        <p:spPr>
          <a:xfrm>
            <a:off x="638145" y="3753686"/>
            <a:ext cx="2010938" cy="463176"/>
          </a:xfrm>
          <a:prstGeom prst="roundRect">
            <a:avLst/>
          </a:prstGeom>
          <a:solidFill>
            <a:srgbClr val="E4077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4 - Analyser</a:t>
            </a:r>
          </a:p>
        </p:txBody>
      </p:sp>
      <p:sp>
        <p:nvSpPr>
          <p:cNvPr id="16" name="Text Placeholder 4"/>
          <p:cNvSpPr txBox="1">
            <a:spLocks/>
          </p:cNvSpPr>
          <p:nvPr/>
        </p:nvSpPr>
        <p:spPr>
          <a:xfrm>
            <a:off x="638145" y="3095488"/>
            <a:ext cx="2010938" cy="463176"/>
          </a:xfrm>
          <a:prstGeom prst="roundRect">
            <a:avLst/>
          </a:prstGeom>
          <a:solidFill>
            <a:srgbClr val="E4077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5 - Synthétiser</a:t>
            </a:r>
          </a:p>
        </p:txBody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638145" y="2437290"/>
            <a:ext cx="2010938" cy="463176"/>
          </a:xfrm>
          <a:prstGeom prst="roundRect">
            <a:avLst/>
          </a:prstGeom>
          <a:solidFill>
            <a:srgbClr val="E4077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6 - Évalu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1B7F6B3-3F6F-4FDD-ADA2-D2F34B41EA66}"/>
              </a:ext>
            </a:extLst>
          </p:cNvPr>
          <p:cNvSpPr/>
          <p:nvPr/>
        </p:nvSpPr>
        <p:spPr>
          <a:xfrm>
            <a:off x="2801865" y="1436943"/>
            <a:ext cx="6292811" cy="76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63" i="1" dirty="0" smtClean="0"/>
              <a:t>Exemples </a:t>
            </a:r>
            <a:r>
              <a:rPr lang="fr-FR" sz="1463" i="1" dirty="0"/>
              <a:t>illustrant la définition des objectifs d'apprentissage dans le domaine cognitif sur les différents niveaux d'apprentissage d'une formation dans le </a:t>
            </a:r>
            <a:r>
              <a:rPr lang="fr-FR" sz="1463" i="1" u="sng" dirty="0"/>
              <a:t>domaine législatif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600" b="1" dirty="0">
                <a:solidFill>
                  <a:srgbClr val="FF9700"/>
                </a:solidFill>
              </a:rPr>
              <a:t>Taxonomie du domaine cognitif (Bloom/</a:t>
            </a:r>
            <a:r>
              <a:rPr lang="fr-FR" sz="2600" b="1" dirty="0" err="1">
                <a:solidFill>
                  <a:srgbClr val="FF9700"/>
                </a:solidFill>
              </a:rPr>
              <a:t>Krathwohl</a:t>
            </a:r>
            <a:r>
              <a:rPr lang="fr-FR" sz="2600" b="1" dirty="0">
                <a:solidFill>
                  <a:srgbClr val="FF9700"/>
                </a:solidFill>
              </a:rPr>
              <a:t>)</a:t>
            </a:r>
          </a:p>
        </p:txBody>
      </p:sp>
      <p:sp>
        <p:nvSpPr>
          <p:cNvPr id="38" name="Text Placeholder 4"/>
          <p:cNvSpPr txBox="1">
            <a:spLocks/>
          </p:cNvSpPr>
          <p:nvPr/>
        </p:nvSpPr>
        <p:spPr>
          <a:xfrm>
            <a:off x="638145" y="3762955"/>
            <a:ext cx="2010938" cy="463176"/>
          </a:xfrm>
          <a:prstGeom prst="roundRect">
            <a:avLst/>
          </a:prstGeom>
          <a:solidFill>
            <a:srgbClr val="FF97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4 - Analyser</a:t>
            </a:r>
          </a:p>
        </p:txBody>
      </p:sp>
      <p:sp>
        <p:nvSpPr>
          <p:cNvPr id="39" name="Text Placeholder 4"/>
          <p:cNvSpPr txBox="1">
            <a:spLocks/>
          </p:cNvSpPr>
          <p:nvPr/>
        </p:nvSpPr>
        <p:spPr>
          <a:xfrm>
            <a:off x="638145" y="3109239"/>
            <a:ext cx="2010938" cy="463176"/>
          </a:xfrm>
          <a:prstGeom prst="roundRect">
            <a:avLst/>
          </a:prstGeom>
          <a:solidFill>
            <a:srgbClr val="FF97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5 - </a:t>
            </a:r>
            <a:r>
              <a:rPr lang="fr-FR" sz="1950" dirty="0" smtClean="0"/>
              <a:t>Evaluer</a:t>
            </a:r>
            <a:endParaRPr lang="fr-FR" sz="1950" dirty="0"/>
          </a:p>
        </p:txBody>
      </p:sp>
      <p:sp>
        <p:nvSpPr>
          <p:cNvPr id="40" name="Text Placeholder 4"/>
          <p:cNvSpPr txBox="1">
            <a:spLocks/>
          </p:cNvSpPr>
          <p:nvPr/>
        </p:nvSpPr>
        <p:spPr>
          <a:xfrm>
            <a:off x="638145" y="2451041"/>
            <a:ext cx="2010938" cy="463176"/>
          </a:xfrm>
          <a:prstGeom prst="roundRect">
            <a:avLst/>
          </a:prstGeom>
          <a:solidFill>
            <a:srgbClr val="FF97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6 - </a:t>
            </a:r>
            <a:r>
              <a:rPr lang="fr-FR" sz="1950" dirty="0" smtClean="0"/>
              <a:t>Créer</a:t>
            </a:r>
            <a:endParaRPr lang="fr-FR" sz="1950" dirty="0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47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6/12</a:t>
            </a:r>
            <a:endParaRPr lang="fr-FR" dirty="0"/>
          </a:p>
        </p:txBody>
      </p:sp>
      <p:sp>
        <p:nvSpPr>
          <p:cNvPr id="41" name="TextBox 40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" y="792000"/>
            <a:ext cx="402878" cy="5698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189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F9605F8-9C51-4B62-99F1-EAB1E34529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65158" y="2254521"/>
            <a:ext cx="1880039" cy="670388"/>
          </a:xfrm>
        </p:spPr>
        <p:txBody>
          <a:bodyPr/>
          <a:lstStyle/>
          <a:p>
            <a:pPr marL="0" indent="0">
              <a:buNone/>
            </a:pPr>
            <a:r>
              <a:rPr lang="en-US" sz="1463" b="1" dirty="0" smtClean="0">
                <a:solidFill>
                  <a:srgbClr val="E4077E"/>
                </a:solidFill>
              </a:rPr>
              <a:t>RECEPTION</a:t>
            </a:r>
            <a:endParaRPr lang="fr-FR" sz="1463" b="1" dirty="0">
              <a:solidFill>
                <a:srgbClr val="E4077E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9EAA7AC-79DE-4022-8F20-5FA359DD92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939533" y="2237435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E4077E"/>
                </a:solidFill>
              </a:rPr>
              <a:t>VALORISATION</a:t>
            </a:r>
            <a:endParaRPr lang="fr-FR" sz="1463" b="1" dirty="0">
              <a:solidFill>
                <a:srgbClr val="E4077E"/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3C8F40B-B19A-4A6F-864A-1362A1A145A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83206" y="2254521"/>
            <a:ext cx="1755000" cy="670388"/>
          </a:xfrm>
        </p:spPr>
        <p:txBody>
          <a:bodyPr/>
          <a:lstStyle/>
          <a:p>
            <a:pPr marL="0" indent="0">
              <a:buNone/>
            </a:pPr>
            <a:r>
              <a:rPr lang="fr-FR" sz="1463" b="1" dirty="0" smtClean="0">
                <a:solidFill>
                  <a:srgbClr val="E4077E"/>
                </a:solidFill>
              </a:rPr>
              <a:t>ADOPTION</a:t>
            </a:r>
            <a:endParaRPr lang="fr-FR" sz="1463" b="1" dirty="0">
              <a:solidFill>
                <a:srgbClr val="E4077E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7076638-C4B9-49A9-B27A-2F09C1A10D2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191407" y="3835790"/>
            <a:ext cx="1512616" cy="2115236"/>
          </a:xfrm>
        </p:spPr>
        <p:txBody>
          <a:bodyPr/>
          <a:lstStyle/>
          <a:p>
            <a:pPr marL="0" indent="0">
              <a:buNone/>
            </a:pPr>
            <a:r>
              <a:rPr lang="fr-FR" i="1" dirty="0" smtClean="0"/>
              <a:t>Être </a:t>
            </a:r>
            <a:r>
              <a:rPr lang="fr-FR" b="1" i="1" dirty="0">
                <a:solidFill>
                  <a:srgbClr val="E4077E"/>
                </a:solidFill>
              </a:rPr>
              <a:t>attentif</a:t>
            </a:r>
            <a:r>
              <a:rPr lang="fr-FR" i="1" dirty="0"/>
              <a:t>, </a:t>
            </a:r>
            <a:r>
              <a:rPr lang="fr-FR" b="1" i="1" dirty="0">
                <a:solidFill>
                  <a:srgbClr val="E4077E"/>
                </a:solidFill>
              </a:rPr>
              <a:t>sensibilisé</a:t>
            </a:r>
            <a:r>
              <a:rPr lang="fr-FR" i="1" dirty="0"/>
              <a:t>, </a:t>
            </a:r>
            <a:r>
              <a:rPr lang="fr-FR" b="1" i="1" dirty="0">
                <a:solidFill>
                  <a:srgbClr val="E4077E"/>
                </a:solidFill>
              </a:rPr>
              <a:t>conscient</a:t>
            </a:r>
            <a:r>
              <a:rPr lang="fr-FR" i="1" dirty="0"/>
              <a:t> d’une problématique ; </a:t>
            </a:r>
            <a:r>
              <a:rPr lang="fr-FR" b="1" i="1" dirty="0">
                <a:solidFill>
                  <a:srgbClr val="E4077E"/>
                </a:solidFill>
              </a:rPr>
              <a:t>faire</a:t>
            </a:r>
            <a:r>
              <a:rPr lang="fr-FR" i="1" dirty="0"/>
              <a:t> </a:t>
            </a:r>
            <a:r>
              <a:rPr lang="fr-FR" b="1" i="1" dirty="0">
                <a:solidFill>
                  <a:srgbClr val="E4077E"/>
                </a:solidFill>
              </a:rPr>
              <a:t>preuve</a:t>
            </a:r>
            <a:r>
              <a:rPr lang="fr-FR" i="1" dirty="0"/>
              <a:t> </a:t>
            </a:r>
            <a:r>
              <a:rPr lang="fr-FR" b="1" i="1" dirty="0">
                <a:solidFill>
                  <a:srgbClr val="E4077E"/>
                </a:solidFill>
              </a:rPr>
              <a:t>d’ouvertur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smtClean="0"/>
              <a:t>Accueillir, analyser</a:t>
            </a:r>
            <a:r>
              <a:rPr lang="fr-FR" dirty="0"/>
              <a:t>, associer, définir, différencier, écouter, expliquer, identifier, interroger, poser des questions, reconnaître, se conformer, spécifier, etc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3E8F1FDB-F83F-4D8B-A84F-7A922F51F06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164986" y="3831700"/>
            <a:ext cx="1489856" cy="2157427"/>
          </a:xfrm>
        </p:spPr>
        <p:txBody>
          <a:bodyPr/>
          <a:lstStyle/>
          <a:p>
            <a:pPr marL="0" indent="0">
              <a:buNone/>
            </a:pPr>
            <a:r>
              <a:rPr lang="fr-FR" b="1" i="1" dirty="0">
                <a:solidFill>
                  <a:srgbClr val="E4077E"/>
                </a:solidFill>
              </a:rPr>
              <a:t>Promouvoir</a:t>
            </a:r>
            <a:r>
              <a:rPr lang="fr-FR" i="1" dirty="0" smtClean="0"/>
              <a:t> </a:t>
            </a:r>
            <a:r>
              <a:rPr lang="fr-FR" i="1" dirty="0"/>
              <a:t>une </a:t>
            </a:r>
            <a:r>
              <a:rPr lang="fr-FR" b="1" i="1" dirty="0">
                <a:solidFill>
                  <a:srgbClr val="E4077E"/>
                </a:solidFill>
              </a:rPr>
              <a:t>valeur</a:t>
            </a:r>
            <a:r>
              <a:rPr lang="fr-FR" i="1" dirty="0"/>
              <a:t> ou une </a:t>
            </a:r>
            <a:r>
              <a:rPr lang="fr-FR" b="1" i="1" dirty="0">
                <a:solidFill>
                  <a:srgbClr val="E4077E"/>
                </a:solidFill>
              </a:rPr>
              <a:t>attitude</a:t>
            </a:r>
            <a:r>
              <a:rPr lang="fr-FR" i="1" dirty="0"/>
              <a:t>, </a:t>
            </a:r>
            <a:r>
              <a:rPr lang="fr-FR" b="1" i="1" dirty="0">
                <a:solidFill>
                  <a:srgbClr val="E4077E"/>
                </a:solidFill>
              </a:rPr>
              <a:t>prendre</a:t>
            </a:r>
            <a:r>
              <a:rPr lang="fr-FR" i="1" dirty="0"/>
              <a:t> </a:t>
            </a:r>
            <a:r>
              <a:rPr lang="fr-FR" b="1" i="1" dirty="0">
                <a:solidFill>
                  <a:srgbClr val="E4077E"/>
                </a:solidFill>
              </a:rPr>
              <a:t>position</a:t>
            </a:r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fr-FR" i="1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Acclamer, approuver, argumenter, choisir, </a:t>
            </a:r>
            <a:r>
              <a:rPr lang="fr-FR" dirty="0" smtClean="0"/>
              <a:t>conseiller</a:t>
            </a:r>
            <a:r>
              <a:rPr lang="fr-FR" dirty="0"/>
              <a:t>, contester, débattre, défendre, </a:t>
            </a:r>
            <a:r>
              <a:rPr lang="fr-FR" dirty="0" smtClean="0"/>
              <a:t>dialoguer</a:t>
            </a:r>
            <a:r>
              <a:rPr lang="fr-FR" dirty="0"/>
              <a:t>, encourager, fournir des exemples, influencer, nier, </a:t>
            </a:r>
            <a:r>
              <a:rPr lang="fr-FR" dirty="0" smtClean="0"/>
              <a:t>etc</a:t>
            </a:r>
            <a:r>
              <a:rPr lang="fr-FR" dirty="0"/>
              <a:t>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30295FE-4061-46B5-AF50-DFC87990D4C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024131" y="3817587"/>
            <a:ext cx="1680089" cy="2279314"/>
          </a:xfrm>
        </p:spPr>
        <p:txBody>
          <a:bodyPr/>
          <a:lstStyle/>
          <a:p>
            <a:pPr marL="0" indent="0">
              <a:buNone/>
            </a:pPr>
            <a:r>
              <a:rPr lang="fr-FR" b="1" i="1" dirty="0">
                <a:solidFill>
                  <a:srgbClr val="E4077E"/>
                </a:solidFill>
              </a:rPr>
              <a:t>Adopter</a:t>
            </a:r>
            <a:r>
              <a:rPr lang="fr-FR" dirty="0" smtClean="0"/>
              <a:t> </a:t>
            </a:r>
            <a:r>
              <a:rPr lang="fr-FR" dirty="0"/>
              <a:t>un </a:t>
            </a:r>
            <a:r>
              <a:rPr lang="fr-FR" b="1" i="1" dirty="0">
                <a:solidFill>
                  <a:srgbClr val="E4077E"/>
                </a:solidFill>
              </a:rPr>
              <a:t>comportement</a:t>
            </a:r>
            <a:r>
              <a:rPr lang="fr-FR" dirty="0"/>
              <a:t> qui reflète une attitude ou une valeur ; </a:t>
            </a:r>
            <a:r>
              <a:rPr lang="fr-FR" b="1" i="1" dirty="0">
                <a:solidFill>
                  <a:srgbClr val="E4077E"/>
                </a:solidFill>
              </a:rPr>
              <a:t>être</a:t>
            </a:r>
            <a:r>
              <a:rPr lang="fr-FR" dirty="0"/>
              <a:t> </a:t>
            </a:r>
            <a:r>
              <a:rPr lang="fr-FR" b="1" i="1" dirty="0">
                <a:solidFill>
                  <a:srgbClr val="E4077E"/>
                </a:solidFill>
              </a:rPr>
              <a:t>engagé</a:t>
            </a:r>
            <a:r>
              <a:rPr lang="fr-FR" dirty="0"/>
              <a:t> </a:t>
            </a:r>
            <a:r>
              <a:rPr lang="fr-FR" b="1" i="1" dirty="0">
                <a:solidFill>
                  <a:srgbClr val="E4077E"/>
                </a:solidFill>
              </a:rPr>
              <a:t>personnellement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Accompagner, </a:t>
            </a:r>
            <a:r>
              <a:rPr lang="fr-FR" dirty="0" smtClean="0"/>
              <a:t>agir</a:t>
            </a:r>
            <a:r>
              <a:rPr lang="fr-FR" dirty="0"/>
              <a:t>, aider, assister, changer, déléguer, diriger, éviter, faciliter, former, modifier, offrir, pratiquer, </a:t>
            </a:r>
            <a:r>
              <a:rPr lang="fr-FR" dirty="0" smtClean="0"/>
              <a:t>réclamer</a:t>
            </a:r>
            <a:r>
              <a:rPr lang="fr-FR" dirty="0"/>
              <a:t>, réviser, </a:t>
            </a:r>
            <a:r>
              <a:rPr lang="fr-FR" dirty="0" smtClean="0"/>
              <a:t>résoudre</a:t>
            </a:r>
            <a:r>
              <a:rPr lang="fr-FR" dirty="0"/>
              <a:t>, </a:t>
            </a:r>
            <a:r>
              <a:rPr lang="fr-FR" dirty="0" smtClean="0"/>
              <a:t>transformer</a:t>
            </a:r>
            <a:r>
              <a:rPr lang="fr-FR" dirty="0"/>
              <a:t>, etc.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600" b="1" dirty="0">
                <a:solidFill>
                  <a:srgbClr val="E4077E"/>
                </a:solidFill>
              </a:rPr>
              <a:t>Taxonomie du domaine affectif (</a:t>
            </a:r>
            <a:r>
              <a:rPr lang="fr-FR" sz="2600" b="1" dirty="0" err="1" smtClean="0">
                <a:solidFill>
                  <a:srgbClr val="E4077E"/>
                </a:solidFill>
              </a:rPr>
              <a:t>Berthiaume</a:t>
            </a:r>
            <a:r>
              <a:rPr lang="fr-FR" sz="2600" b="1" dirty="0" smtClean="0">
                <a:solidFill>
                  <a:srgbClr val="E4077E"/>
                </a:solidFill>
              </a:rPr>
              <a:t>/</a:t>
            </a:r>
            <a:r>
              <a:rPr lang="fr-FR" sz="2600" b="1" dirty="0" err="1" smtClean="0">
                <a:solidFill>
                  <a:srgbClr val="E4077E"/>
                </a:solidFill>
              </a:rPr>
              <a:t>Daele</a:t>
            </a:r>
            <a:r>
              <a:rPr lang="fr-FR" sz="2600" b="1" dirty="0" smtClean="0">
                <a:solidFill>
                  <a:srgbClr val="E4077E"/>
                </a:solidFill>
              </a:rPr>
              <a:t>)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6" name="Isosceles Triangle 5"/>
          <p:cNvSpPr/>
          <p:nvPr/>
        </p:nvSpPr>
        <p:spPr>
          <a:xfrm rot="16200000">
            <a:off x="4380664" y="704095"/>
            <a:ext cx="505863" cy="5148054"/>
          </a:xfrm>
          <a:prstGeom prst="triangle">
            <a:avLst>
              <a:gd name="adj" fmla="val 0"/>
            </a:avLst>
          </a:prstGeom>
          <a:solidFill>
            <a:srgbClr val="FFE3F3"/>
          </a:solidFill>
          <a:ln>
            <a:solidFill>
              <a:srgbClr val="F0F9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Flowchart: Connector 30"/>
          <p:cNvSpPr/>
          <p:nvPr/>
        </p:nvSpPr>
        <p:spPr>
          <a:xfrm>
            <a:off x="4489785" y="3036257"/>
            <a:ext cx="634154" cy="606145"/>
          </a:xfrm>
          <a:prstGeom prst="flowChartConnector">
            <a:avLst/>
          </a:prstGeom>
          <a:solidFill>
            <a:srgbClr val="E407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Flowchart: Connector 34"/>
          <p:cNvSpPr/>
          <p:nvPr/>
        </p:nvSpPr>
        <p:spPr>
          <a:xfrm>
            <a:off x="2573422" y="3036257"/>
            <a:ext cx="634154" cy="606145"/>
          </a:xfrm>
          <a:prstGeom prst="flowChartConnector">
            <a:avLst/>
          </a:prstGeom>
          <a:solidFill>
            <a:srgbClr val="E407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Flowchart: Connector 36"/>
          <p:cNvSpPr/>
          <p:nvPr/>
        </p:nvSpPr>
        <p:spPr>
          <a:xfrm>
            <a:off x="6406147" y="3036257"/>
            <a:ext cx="634154" cy="606145"/>
          </a:xfrm>
          <a:prstGeom prst="flowChartConnector">
            <a:avLst/>
          </a:prstGeom>
          <a:solidFill>
            <a:srgbClr val="E407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extBox 8"/>
          <p:cNvSpPr txBox="1"/>
          <p:nvPr/>
        </p:nvSpPr>
        <p:spPr>
          <a:xfrm>
            <a:off x="1781788" y="3508224"/>
            <a:ext cx="1108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rgbClr val="E4077E"/>
                </a:solidFill>
              </a:rPr>
              <a:t>simple</a:t>
            </a:r>
            <a:endParaRPr lang="fr-FR" sz="1000" i="1" dirty="0">
              <a:solidFill>
                <a:srgbClr val="E4077E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47648" y="2835415"/>
            <a:ext cx="1108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 smtClean="0">
                <a:solidFill>
                  <a:srgbClr val="E4077E"/>
                </a:solidFill>
              </a:rPr>
              <a:t>complexe</a:t>
            </a:r>
            <a:endParaRPr lang="fr-FR" sz="1000" i="1" dirty="0">
              <a:solidFill>
                <a:srgbClr val="E4077E"/>
              </a:solidFill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E4077E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" y="900000"/>
            <a:ext cx="365432" cy="51687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  <p:sp>
        <p:nvSpPr>
          <p:cNvPr id="19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7/12</a:t>
            </a:r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996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2697015" y="4173186"/>
            <a:ext cx="6472282" cy="572210"/>
            <a:chOff x="2255730" y="4577605"/>
            <a:chExt cx="7119570" cy="704880"/>
          </a:xfrm>
          <a:solidFill>
            <a:srgbClr val="FFE3F3"/>
          </a:solidFill>
        </p:grpSpPr>
        <p:sp>
          <p:nvSpPr>
            <p:cNvPr id="23" name="Pentagon 22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Pentagon 4"/>
            <p:cNvSpPr txBox="1"/>
            <p:nvPr/>
          </p:nvSpPr>
          <p:spPr>
            <a:xfrm>
              <a:off x="2431949" y="4577609"/>
              <a:ext cx="6943351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pPr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de </a:t>
              </a:r>
              <a:r>
                <a:rPr lang="fr-FR" sz="1300" b="1" dirty="0">
                  <a:solidFill>
                    <a:srgbClr val="E4077E"/>
                  </a:solidFill>
                </a:rPr>
                <a:t>définir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 le réchauffement climatique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697239" y="2845286"/>
            <a:ext cx="6472282" cy="572206"/>
            <a:chOff x="2255730" y="4577605"/>
            <a:chExt cx="7119569" cy="704876"/>
          </a:xfrm>
          <a:solidFill>
            <a:srgbClr val="FFE3F3"/>
          </a:solidFill>
        </p:grpSpPr>
        <p:sp>
          <p:nvSpPr>
            <p:cNvPr id="26" name="Pentagon 25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Pentagon 4"/>
            <p:cNvSpPr txBox="1"/>
            <p:nvPr/>
          </p:nvSpPr>
          <p:spPr>
            <a:xfrm rot="21600000">
              <a:off x="2431949" y="4577605"/>
              <a:ext cx="6943350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de </a:t>
              </a:r>
              <a:r>
                <a:rPr lang="fr-FR" sz="1300" b="1" dirty="0">
                  <a:solidFill>
                    <a:srgbClr val="E4077E"/>
                  </a:solidFill>
                </a:rPr>
                <a:t>changer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 son comportement afin de prévenir les risques 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liés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au réchauffement climatique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693442" y="3508495"/>
            <a:ext cx="6472282" cy="572207"/>
            <a:chOff x="2255730" y="4577604"/>
            <a:chExt cx="7119569" cy="704877"/>
          </a:xfrm>
          <a:solidFill>
            <a:srgbClr val="FFE3F3"/>
          </a:solidFill>
        </p:grpSpPr>
        <p:sp>
          <p:nvSpPr>
            <p:cNvPr id="7" name="Pentagon 6"/>
            <p:cNvSpPr/>
            <p:nvPr/>
          </p:nvSpPr>
          <p:spPr>
            <a:xfrm rot="10800000">
              <a:off x="2255730" y="4577605"/>
              <a:ext cx="7119569" cy="704876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Pentagon 4"/>
            <p:cNvSpPr txBox="1"/>
            <p:nvPr/>
          </p:nvSpPr>
          <p:spPr>
            <a:xfrm>
              <a:off x="2431948" y="4577604"/>
              <a:ext cx="6943351" cy="70487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550" tIns="99060" rIns="184912" bIns="99060" numCol="1" spcCol="1270" anchor="ctr" anchorCtr="0">
              <a:noAutofit/>
            </a:bodyPr>
            <a:lstStyle/>
            <a:p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Être capable </a:t>
              </a:r>
              <a:r>
                <a:rPr lang="fr-FR" sz="1300" b="1" dirty="0">
                  <a:solidFill>
                    <a:srgbClr val="E4077E"/>
                  </a:solidFill>
                </a:rPr>
                <a:t>d’argumenter</a:t>
              </a:r>
              <a:r>
                <a:rPr lang="fr-FR" sz="1300" dirty="0">
                  <a:solidFill>
                    <a:srgbClr val="E4077E"/>
                  </a:solidFill>
                </a:rPr>
                <a:t> </a:t>
              </a:r>
              <a:r>
                <a:rPr lang="fr-FR" sz="1300" dirty="0" smtClean="0">
                  <a:solidFill>
                    <a:schemeClr val="bg2">
                      <a:lumMod val="50000"/>
                    </a:schemeClr>
                  </a:solidFill>
                </a:rPr>
                <a:t>quels </a:t>
              </a:r>
              <a:r>
                <a:rPr lang="fr-FR" sz="1300" dirty="0">
                  <a:solidFill>
                    <a:schemeClr val="bg2">
                      <a:lumMod val="50000"/>
                    </a:schemeClr>
                  </a:solidFill>
                </a:rPr>
                <a:t>sont les risques liés du réchauffement climatique</a:t>
              </a: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86079" y="4227704"/>
            <a:ext cx="2010937" cy="463176"/>
          </a:xfrm>
          <a:prstGeom prst="roundRect">
            <a:avLst/>
          </a:prstGeom>
          <a:solidFill>
            <a:srgbClr val="E4077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 anchorCtr="0"/>
          <a:lstStyle/>
          <a:p>
            <a:pPr marL="0" indent="0">
              <a:buNone/>
            </a:pPr>
            <a:r>
              <a:rPr lang="fr-FR" sz="1950" b="1" dirty="0">
                <a:solidFill>
                  <a:schemeClr val="bg1"/>
                </a:solidFill>
              </a:rPr>
              <a:t> 1 - </a:t>
            </a:r>
            <a:r>
              <a:rPr lang="fr-FR" sz="1950" b="1" dirty="0" smtClean="0">
                <a:solidFill>
                  <a:schemeClr val="bg1"/>
                </a:solidFill>
              </a:rPr>
              <a:t>Réception</a:t>
            </a:r>
            <a:endParaRPr lang="fr-FR" sz="1950" b="1" dirty="0">
              <a:solidFill>
                <a:schemeClr val="bg1"/>
              </a:solidFill>
            </a:endParaRP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686078" y="3560216"/>
            <a:ext cx="2010938" cy="463176"/>
          </a:xfrm>
          <a:prstGeom prst="roundRect">
            <a:avLst/>
          </a:prstGeom>
          <a:solidFill>
            <a:srgbClr val="E4077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2 - </a:t>
            </a:r>
            <a:r>
              <a:rPr lang="fr-FR" sz="1950" dirty="0" smtClean="0"/>
              <a:t>Valorisation</a:t>
            </a:r>
            <a:endParaRPr lang="fr-FR" sz="1950" dirty="0"/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686078" y="2892728"/>
            <a:ext cx="2010938" cy="463176"/>
          </a:xfrm>
          <a:prstGeom prst="roundRect">
            <a:avLst/>
          </a:prstGeom>
          <a:solidFill>
            <a:srgbClr val="E4077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vert="horz" lIns="132661" tIns="66331" rIns="132661" bIns="66331" rtlCol="0" anchor="ctr" anchorCtr="0">
            <a:noAutofit/>
          </a:bodyPr>
          <a:lstStyle>
            <a:lvl1pPr indent="0" defTabSz="108866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2400" b="1" baseline="0">
                <a:solidFill>
                  <a:schemeClr val="bg1"/>
                </a:solidFill>
              </a:defRPr>
            </a:lvl1pPr>
            <a:lvl2pPr marL="884542" indent="-340208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2pPr>
            <a:lvl3pPr marL="136083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1867"/>
            </a:lvl3pPr>
            <a:lvl4pPr marL="1905165" indent="-272167" defTabSz="1088665">
              <a:spcBef>
                <a:spcPct val="20000"/>
              </a:spcBef>
              <a:buFont typeface="Arial" panose="020B0604020202020204" pitchFamily="34" charset="0"/>
              <a:buChar char="–"/>
              <a:defRPr sz="1867"/>
            </a:lvl4pPr>
            <a:lvl5pPr marL="2449496" indent="-272167" defTabSz="1088665">
              <a:spcBef>
                <a:spcPct val="20000"/>
              </a:spcBef>
              <a:buFont typeface="Arial" panose="020B0604020202020204" pitchFamily="34" charset="0"/>
              <a:buChar char="»"/>
              <a:defRPr sz="1867"/>
            </a:lvl5pPr>
            <a:lvl6pPr marL="2993830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6pPr>
            <a:lvl7pPr marL="3538162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7pPr>
            <a:lvl8pPr marL="4082493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8pPr>
            <a:lvl9pPr marL="4626827" indent="-272167" defTabSz="1088665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9pPr>
          </a:lstStyle>
          <a:p>
            <a:r>
              <a:rPr lang="fr-FR" sz="1950" dirty="0"/>
              <a:t>3 - </a:t>
            </a:r>
            <a:r>
              <a:rPr lang="fr-FR" sz="1950" dirty="0" smtClean="0"/>
              <a:t>Adoption</a:t>
            </a:r>
            <a:endParaRPr lang="fr-FR" sz="195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36E4A20-5BE5-40E1-9758-0AD1F5979B56}"/>
              </a:ext>
            </a:extLst>
          </p:cNvPr>
          <p:cNvSpPr/>
          <p:nvPr/>
        </p:nvSpPr>
        <p:spPr>
          <a:xfrm>
            <a:off x="2853639" y="1624267"/>
            <a:ext cx="6312085" cy="76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63" i="1" dirty="0" smtClean="0"/>
              <a:t>Exemples </a:t>
            </a:r>
            <a:r>
              <a:rPr lang="fr-FR" sz="1463" i="1" dirty="0"/>
              <a:t>illustrant la définition des objectifs d'apprentissage dans le domaine affectif sur les différents niveaux d'apprentissage d'une formation de la sensibilisation au </a:t>
            </a:r>
            <a:r>
              <a:rPr lang="fr-FR" sz="1463" i="1" u="sng" dirty="0" smtClean="0"/>
              <a:t>réchauffement </a:t>
            </a:r>
            <a:r>
              <a:rPr lang="fr-FR" sz="1463" i="1" u="sng" dirty="0"/>
              <a:t>climatiqu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583200" y="752400"/>
            <a:ext cx="9069295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600" b="1" dirty="0">
                <a:solidFill>
                  <a:srgbClr val="E4077E"/>
                </a:solidFill>
              </a:rPr>
              <a:t>Taxonomie du domaine affectif (</a:t>
            </a:r>
            <a:r>
              <a:rPr lang="fr-FR" sz="2600" b="1" dirty="0" err="1">
                <a:solidFill>
                  <a:srgbClr val="E4077E"/>
                </a:solidFill>
              </a:rPr>
              <a:t>Berthiaume</a:t>
            </a:r>
            <a:r>
              <a:rPr lang="fr-FR" sz="2600" b="1" dirty="0">
                <a:solidFill>
                  <a:srgbClr val="E4077E"/>
                </a:solidFill>
              </a:rPr>
              <a:t>/</a:t>
            </a:r>
            <a:r>
              <a:rPr lang="fr-FR" sz="2600" b="1" dirty="0" err="1">
                <a:solidFill>
                  <a:srgbClr val="E4077E"/>
                </a:solidFill>
              </a:rPr>
              <a:t>Daele</a:t>
            </a:r>
            <a:r>
              <a:rPr lang="fr-FR" sz="2600" b="1" dirty="0">
                <a:solidFill>
                  <a:srgbClr val="E4077E"/>
                </a:solidFill>
              </a:rPr>
              <a:t>)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02B0EB6-A8FD-4372-97CC-02FE22866887}"/>
              </a:ext>
            </a:extLst>
          </p:cNvPr>
          <p:cNvSpPr txBox="1">
            <a:spLocks/>
          </p:cNvSpPr>
          <p:nvPr/>
        </p:nvSpPr>
        <p:spPr>
          <a:xfrm>
            <a:off x="6302242" y="141407"/>
            <a:ext cx="4082800" cy="6094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spc="0" baseline="0">
                <a:solidFill>
                  <a:srgbClr val="E6007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300" dirty="0" smtClean="0">
                <a:solidFill>
                  <a:srgbClr val="929293"/>
                </a:solidFill>
              </a:rPr>
              <a:t>Guide « Définition d’objectifs d’apprentissage »</a:t>
            </a:r>
            <a:endParaRPr lang="fr-FR" sz="1300" dirty="0">
              <a:solidFill>
                <a:srgbClr val="929293"/>
              </a:solidFill>
            </a:endParaRPr>
          </a:p>
        </p:txBody>
      </p:sp>
      <p:sp>
        <p:nvSpPr>
          <p:cNvPr id="32" name="Slide Number Placeholder 2">
            <a:extLst>
              <a:ext uri="{FF2B5EF4-FFF2-40B4-BE49-F238E27FC236}">
                <a16:creationId xmlns:a16="http://schemas.microsoft.com/office/drawing/2014/main" id="{4812B473-6BC2-406A-A3A5-27392F356832}"/>
              </a:ext>
            </a:extLst>
          </p:cNvPr>
          <p:cNvSpPr txBox="1">
            <a:spLocks/>
          </p:cNvSpPr>
          <p:nvPr/>
        </p:nvSpPr>
        <p:spPr>
          <a:xfrm>
            <a:off x="4864078" y="6401122"/>
            <a:ext cx="4914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8/12</a:t>
            </a:r>
            <a:endParaRPr lang="fr-FR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E4077E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" y="900000"/>
            <a:ext cx="365432" cy="51687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584300" y="6391549"/>
            <a:ext cx="1079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i 2023</a:t>
            </a:r>
            <a:endParaRPr lang="fr-FR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874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PITtEnRYmCUwXENxXZ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49F6E5CBDBAF45BDD01CB33727AAC1" ma:contentTypeVersion="5" ma:contentTypeDescription="Create a new document." ma:contentTypeScope="" ma:versionID="8b97b5538cd13f8292eda32a999f03c7">
  <xsd:schema xmlns:xsd="http://www.w3.org/2001/XMLSchema" xmlns:xs="http://www.w3.org/2001/XMLSchema" xmlns:p="http://schemas.microsoft.com/office/2006/metadata/properties" xmlns:ns2="69277385-3ddf-4ba5-a0bd-cc4b7c7ea719" xmlns:ns3="http://schemas.microsoft.com/sharepoint/v4" targetNamespace="http://schemas.microsoft.com/office/2006/metadata/properties" ma:root="true" ma:fieldsID="07da1d1549992cf3638dc017175c1986" ns2:_="" ns3:_="">
    <xsd:import namespace="69277385-3ddf-4ba5-a0bd-cc4b7c7ea719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IconOverlay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77385-3ddf-4ba5-a0bd-cc4b7c7ea71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A86A302-8F5E-4ADF-A189-6F79FFCE4412}">
  <ds:schemaRefs>
    <ds:schemaRef ds:uri="http://schemas.microsoft.com/office/2006/documentManagement/types"/>
    <ds:schemaRef ds:uri="http://schemas.microsoft.com/sharepoint/v4"/>
    <ds:schemaRef ds:uri="http://purl.org/dc/terms/"/>
    <ds:schemaRef ds:uri="http://schemas.openxmlformats.org/package/2006/metadata/core-properties"/>
    <ds:schemaRef ds:uri="69277385-3ddf-4ba5-a0bd-cc4b7c7ea719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21B1F4-A511-420A-A209-A6ADCE8821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35D86B-2F9F-461E-9C9E-2140F943E4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277385-3ddf-4ba5-a0bd-cc4b7c7ea719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750</Words>
  <Application>Microsoft Office PowerPoint</Application>
  <PresentationFormat>A4 Paper (210x297 mm)</PresentationFormat>
  <Paragraphs>281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游ゴシック</vt:lpstr>
      <vt:lpstr>游ゴシック Light</vt:lpstr>
      <vt:lpstr>Arial</vt:lpstr>
      <vt:lpstr>Calibri</vt:lpstr>
      <vt:lpstr>Calibri Light</vt:lpstr>
      <vt:lpstr>Office Theme</vt:lpstr>
      <vt:lpstr>think-cell Slide</vt:lpstr>
      <vt:lpstr>Guide pour formateurs  La définition des objectifs d’apprentissage</vt:lpstr>
      <vt:lpstr>PowerPoint Presentation</vt:lpstr>
      <vt:lpstr>PowerPoint Presentation</vt:lpstr>
      <vt:lpstr>1. Déterminer le domaine et le niveau des objectifs d’apprentiss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TI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que.Molitor@inap.etat.lu</dc:creator>
  <cp:lastModifiedBy>Christian Weibel</cp:lastModifiedBy>
  <cp:revision>110</cp:revision>
  <cp:lastPrinted>2021-07-12T09:27:39Z</cp:lastPrinted>
  <dcterms:created xsi:type="dcterms:W3CDTF">2021-06-15T13:21:15Z</dcterms:created>
  <dcterms:modified xsi:type="dcterms:W3CDTF">2023-06-07T08:1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49F6E5CBDBAF45BDD01CB33727AAC1</vt:lpwstr>
  </property>
  <property fmtid="{D5CDD505-2E9C-101B-9397-08002B2CF9AE}" pid="3" name="ArticulateGUID">
    <vt:lpwstr>6904848A-343E-4D7B-BB3E-9326EF0A3692</vt:lpwstr>
  </property>
  <property fmtid="{D5CDD505-2E9C-101B-9397-08002B2CF9AE}" pid="4" name="ArticulatePath">
    <vt:lpwstr>Guide_définition objectifs d'apprentissage.2023</vt:lpwstr>
  </property>
</Properties>
</file>